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2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3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3" r:id="rId1"/>
    <p:sldMasterId id="2147483755" r:id="rId2"/>
    <p:sldMasterId id="2147483822" r:id="rId3"/>
  </p:sldMasterIdLst>
  <p:notesMasterIdLst>
    <p:notesMasterId r:id="rId13"/>
  </p:notesMasterIdLst>
  <p:handoutMasterIdLst>
    <p:handoutMasterId r:id="rId14"/>
  </p:handoutMasterIdLst>
  <p:sldIdLst>
    <p:sldId id="553" r:id="rId4"/>
    <p:sldId id="562" r:id="rId5"/>
    <p:sldId id="545" r:id="rId6"/>
    <p:sldId id="603" r:id="rId7"/>
    <p:sldId id="560" r:id="rId8"/>
    <p:sldId id="601" r:id="rId9"/>
    <p:sldId id="602" r:id="rId10"/>
    <p:sldId id="555" r:id="rId11"/>
    <p:sldId id="561" r:id="rId12"/>
  </p:sldIdLst>
  <p:sldSz cx="10691813" cy="6011863"/>
  <p:notesSz cx="6858000" cy="9144000"/>
  <p:custDataLst>
    <p:tags r:id="rId15"/>
  </p:custDataLst>
  <p:defaultTextStyle>
    <a:defPPr>
      <a:defRPr lang="cs-CZ"/>
    </a:defPPr>
    <a:lvl1pPr marL="0" algn="l" defTabSz="104274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1372" algn="l" defTabSz="104274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42742" algn="l" defTabSz="104274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64114" algn="l" defTabSz="104274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085487" algn="l" defTabSz="104274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06858" algn="l" defTabSz="104274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28229" algn="l" defTabSz="104274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49601" algn="l" defTabSz="104274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170973" algn="l" defTabSz="1042742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Výchozí oddíl" id="{A7178EF7-9504-422E-B0D6-568C15DAE539}">
          <p14:sldIdLst>
            <p14:sldId id="553"/>
            <p14:sldId id="562"/>
            <p14:sldId id="545"/>
            <p14:sldId id="603"/>
            <p14:sldId id="560"/>
            <p14:sldId id="601"/>
            <p14:sldId id="602"/>
            <p14:sldId id="555"/>
            <p14:sldId id="561"/>
          </p14:sldIdLst>
        </p14:section>
        <p14:section name="Mapy" id="{2BC92D1E-F305-42BF-8290-257903AF5F79}">
          <p14:sldIdLst/>
        </p14:section>
      </p14:sectionLst>
    </p:ext>
    <p:ext uri="{EFAFB233-063F-42B5-8137-9DF3F51BA10A}">
      <p15:sldGuideLst xmlns:p15="http://schemas.microsoft.com/office/powerpoint/2012/main">
        <p15:guide id="2" orient="horz" pos="3368" userDrawn="1">
          <p15:clr>
            <a:srgbClr val="A4A3A4"/>
          </p15:clr>
        </p15:guide>
        <p15:guide id="3" orient="horz" pos="828" userDrawn="1">
          <p15:clr>
            <a:srgbClr val="A4A3A4"/>
          </p15:clr>
        </p15:guide>
        <p15:guide id="4" pos="283" userDrawn="1">
          <p15:clr>
            <a:srgbClr val="A4A3A4"/>
          </p15:clr>
        </p15:guide>
        <p15:guide id="5" pos="645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12C8C85-51F0-491E-9774-3900AFEF0FD7}" styleName="Světlý styl 2 – zvýraznění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10A1B5D5-9B99-4C35-A422-299274C87663}" styleName="Střední styl 1 – zvýraznění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8840" autoAdjust="0"/>
    <p:restoredTop sz="96400" autoAdjust="0"/>
  </p:normalViewPr>
  <p:slideViewPr>
    <p:cSldViewPr snapToGrid="0">
      <p:cViewPr>
        <p:scale>
          <a:sx n="80" d="100"/>
          <a:sy n="80" d="100"/>
        </p:scale>
        <p:origin x="748" y="-76"/>
      </p:cViewPr>
      <p:guideLst>
        <p:guide orient="horz" pos="3368"/>
        <p:guide orient="horz" pos="828"/>
        <p:guide pos="283"/>
        <p:guide pos="6452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napToGrid="0">
      <p:cViewPr varScale="1">
        <p:scale>
          <a:sx n="85" d="100"/>
          <a:sy n="85" d="100"/>
        </p:scale>
        <p:origin x="3804" y="8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tags" Target="tags/tag1.xml"/><Relationship Id="rId10" Type="http://schemas.openxmlformats.org/officeDocument/2006/relationships/slide" Target="slides/slide7.xml"/><Relationship Id="rId19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5400000" cy="324000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1200"/>
            </a:lvl1pPr>
          </a:lstStyle>
          <a:p>
            <a:endParaRPr lang="cs-CZ" sz="900">
              <a:latin typeface="SKODA Next" panose="020B0504020603020204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quarter" idx="1"/>
          </p:nvPr>
        </p:nvSpPr>
        <p:spPr>
          <a:xfrm>
            <a:off x="5886000" y="0"/>
            <a:ext cx="972000" cy="324000"/>
          </a:xfrm>
          <a:prstGeom prst="rect">
            <a:avLst/>
          </a:prstGeom>
        </p:spPr>
        <p:txBody>
          <a:bodyPr vert="horz" lIns="0" tIns="0" rIns="0" bIns="0" rtlCol="0"/>
          <a:lstStyle>
            <a:lvl1pPr algn="r">
              <a:defRPr sz="1200"/>
            </a:lvl1pPr>
          </a:lstStyle>
          <a:p>
            <a:fld id="{839AC645-426F-485D-BF89-D5B06960D6A1}" type="datetimeFigureOut">
              <a:rPr lang="cs-CZ" sz="900" smtClean="0">
                <a:latin typeface="SKODA Next" panose="020B0504020603020204" pitchFamily="34" charset="0"/>
                <a:ea typeface="Verdana" pitchFamily="34" charset="0"/>
                <a:cs typeface="Verdana" pitchFamily="34" charset="0"/>
              </a:rPr>
              <a:pPr/>
              <a:t>29.12.2023</a:t>
            </a:fld>
            <a:endParaRPr lang="cs-CZ" sz="900">
              <a:latin typeface="SKODA Next" panose="020B0504020603020204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2"/>
          </p:nvPr>
        </p:nvSpPr>
        <p:spPr>
          <a:xfrm>
            <a:off x="0" y="8820000"/>
            <a:ext cx="5400000" cy="32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200"/>
            </a:lvl1pPr>
          </a:lstStyle>
          <a:p>
            <a:endParaRPr lang="cs-CZ" sz="900">
              <a:latin typeface="SKODA Next" panose="020B0504020603020204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3"/>
          </p:nvPr>
        </p:nvSpPr>
        <p:spPr>
          <a:xfrm>
            <a:off x="5886000" y="8820000"/>
            <a:ext cx="972000" cy="32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/>
            </a:lvl1pPr>
          </a:lstStyle>
          <a:p>
            <a:fld id="{D4CF9FA0-453B-44E2-87EE-486FCDD97806}" type="slidenum">
              <a:rPr lang="cs-CZ" sz="900" smtClean="0">
                <a:latin typeface="SKODA Next" panose="020B0504020603020204" pitchFamily="34" charset="0"/>
                <a:ea typeface="Verdana" pitchFamily="34" charset="0"/>
                <a:cs typeface="Verdana" pitchFamily="34" charset="0"/>
              </a:rPr>
              <a:pPr/>
              <a:t>‹#›</a:t>
            </a:fld>
            <a:endParaRPr lang="cs-CZ" sz="900">
              <a:latin typeface="SKODA Next" panose="020B0504020603020204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2387286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5400000" cy="324000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900"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endParaRPr lang="cs-CZ" noProof="0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5886000" y="0"/>
            <a:ext cx="972000" cy="324000"/>
          </a:xfrm>
          <a:prstGeom prst="rect">
            <a:avLst/>
          </a:prstGeom>
        </p:spPr>
        <p:txBody>
          <a:bodyPr vert="horz" lIns="0" tIns="0" rIns="0" bIns="0" rtlCol="0"/>
          <a:lstStyle>
            <a:lvl1pPr algn="r">
              <a:defRPr sz="900"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3DF265A4-7ECE-4568-9246-39EF07969DAF}" type="datetimeFigureOut">
              <a:rPr lang="cs-CZ" noProof="0" smtClean="0"/>
              <a:pPr/>
              <a:t>29.12.2023</a:t>
            </a:fld>
            <a:endParaRPr lang="cs-CZ" noProof="0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 noProof="0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820000"/>
            <a:ext cx="5400000" cy="32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900"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endParaRPr lang="cs-CZ" noProof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5886000" y="8820000"/>
            <a:ext cx="972000" cy="324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900"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7DCD363E-0387-4F03-A368-7EC1FE0C90C6}" type="slidenum">
              <a:rPr lang="cs-CZ" noProof="0" smtClean="0"/>
              <a:pPr/>
              <a:t>‹#›</a:t>
            </a:fld>
            <a:endParaRPr lang="cs-CZ" noProof="0"/>
          </a:p>
        </p:txBody>
      </p:sp>
    </p:spTree>
    <p:extLst>
      <p:ext uri="{BB962C8B-B14F-4D97-AF65-F5344CB8AC3E}">
        <p14:creationId xmlns:p14="http://schemas.microsoft.com/office/powerpoint/2010/main" val="311283721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80000" indent="-179946" algn="l" defTabSz="1042742" rtl="0" eaLnBrk="1" latinLnBrk="0" hangingPunct="1">
      <a:buClr>
        <a:schemeClr val="tx1"/>
      </a:buClr>
      <a:buFont typeface="SKODA Next" panose="020B0504020603020204" pitchFamily="34" charset="0"/>
      <a:buChar char="−"/>
      <a:defRPr sz="900" kern="1200">
        <a:solidFill>
          <a:schemeClr val="tx1"/>
        </a:solidFill>
        <a:latin typeface="SKODA Next" panose="020B0504020603020204" pitchFamily="34" charset="0"/>
        <a:ea typeface="Verdana" pitchFamily="34" charset="0"/>
        <a:cs typeface="Verdana" pitchFamily="34" charset="0"/>
      </a:defRPr>
    </a:lvl1pPr>
    <a:lvl2pPr marL="360000" indent="-179946" algn="l" defTabSz="1042742" rtl="0" eaLnBrk="1" latinLnBrk="0" hangingPunct="1">
      <a:buClr>
        <a:schemeClr val="tx1"/>
      </a:buClr>
      <a:buFont typeface="SKODA Next" panose="020B0504020603020204" pitchFamily="34" charset="0"/>
      <a:buChar char="−"/>
      <a:defRPr sz="900" kern="1200">
        <a:solidFill>
          <a:schemeClr val="tx1"/>
        </a:solidFill>
        <a:latin typeface="SKODA Next" panose="020B0504020603020204" pitchFamily="34" charset="0"/>
        <a:ea typeface="Verdana" pitchFamily="34" charset="0"/>
        <a:cs typeface="Verdana" pitchFamily="34" charset="0"/>
      </a:defRPr>
    </a:lvl2pPr>
    <a:lvl3pPr marL="540000" indent="-179946" algn="l" defTabSz="1042742" rtl="0" eaLnBrk="1" latinLnBrk="0" hangingPunct="1">
      <a:buClr>
        <a:schemeClr val="tx1"/>
      </a:buClr>
      <a:buFont typeface="SKODA Next" panose="020B0504020603020204" pitchFamily="34" charset="0"/>
      <a:buChar char="−"/>
      <a:defRPr sz="900" kern="1200">
        <a:solidFill>
          <a:schemeClr val="tx1"/>
        </a:solidFill>
        <a:latin typeface="SKODA Next" panose="020B0504020603020204" pitchFamily="34" charset="0"/>
        <a:ea typeface="Verdana" pitchFamily="34" charset="0"/>
        <a:cs typeface="Verdana" pitchFamily="34" charset="0"/>
      </a:defRPr>
    </a:lvl3pPr>
    <a:lvl4pPr marL="720000" indent="-179946" algn="l" defTabSz="1042742" rtl="0" eaLnBrk="1" latinLnBrk="0" hangingPunct="1">
      <a:buClr>
        <a:schemeClr val="tx1"/>
      </a:buClr>
      <a:buFont typeface="SKODA Next" panose="020B0504020603020204" pitchFamily="34" charset="0"/>
      <a:buChar char="−"/>
      <a:defRPr sz="900" kern="1200">
        <a:solidFill>
          <a:schemeClr val="tx1"/>
        </a:solidFill>
        <a:latin typeface="SKODA Next" panose="020B0504020603020204" pitchFamily="34" charset="0"/>
        <a:ea typeface="Verdana" pitchFamily="34" charset="0"/>
        <a:cs typeface="Verdana" pitchFamily="34" charset="0"/>
      </a:defRPr>
    </a:lvl4pPr>
    <a:lvl5pPr marL="900000" indent="-179946" algn="l" defTabSz="1042742" rtl="0" eaLnBrk="1" latinLnBrk="0" hangingPunct="1">
      <a:buClr>
        <a:schemeClr val="tx1"/>
      </a:buClr>
      <a:buFont typeface="SKODA Next" panose="020B0504020603020204" pitchFamily="34" charset="0"/>
      <a:buChar char="−"/>
      <a:defRPr sz="900" kern="1200">
        <a:solidFill>
          <a:schemeClr val="tx1"/>
        </a:solidFill>
        <a:latin typeface="SKODA Next" panose="020B0504020603020204" pitchFamily="34" charset="0"/>
        <a:ea typeface="Verdana" pitchFamily="34" charset="0"/>
        <a:cs typeface="Verdana" pitchFamily="34" charset="0"/>
      </a:defRPr>
    </a:lvl5pPr>
    <a:lvl6pPr marL="1080000" indent="-180000" algn="l" defTabSz="1042742" rtl="0" eaLnBrk="1" latinLnBrk="0" hangingPunct="1">
      <a:buFont typeface="SKODA Next" panose="020B0504020603020204" pitchFamily="34" charset="0"/>
      <a:buChar char="−"/>
      <a:defRPr sz="900" kern="1200">
        <a:solidFill>
          <a:schemeClr val="tx1"/>
        </a:solidFill>
        <a:latin typeface="SKODA Next" panose="020B0504020603020204" pitchFamily="34" charset="0"/>
        <a:ea typeface="+mn-ea"/>
        <a:cs typeface="+mn-cs"/>
      </a:defRPr>
    </a:lvl6pPr>
    <a:lvl7pPr marL="1260000" indent="-180000" algn="l" defTabSz="1042742" rtl="0" eaLnBrk="1" latinLnBrk="0" hangingPunct="1">
      <a:buFont typeface="SKODA Next" panose="020B0504020603020204" pitchFamily="34" charset="0"/>
      <a:buChar char="−"/>
      <a:defRPr sz="900" kern="1200">
        <a:solidFill>
          <a:schemeClr val="tx1"/>
        </a:solidFill>
        <a:latin typeface="SKODA Next" panose="020B0504020603020204" pitchFamily="34" charset="0"/>
        <a:ea typeface="+mn-ea"/>
        <a:cs typeface="+mn-cs"/>
      </a:defRPr>
    </a:lvl7pPr>
    <a:lvl8pPr marL="1440000" indent="-180000" algn="l" defTabSz="1042742" rtl="0" eaLnBrk="1" latinLnBrk="0" hangingPunct="1">
      <a:buFont typeface="SKODA Next" panose="020B0504020603020204" pitchFamily="34" charset="0"/>
      <a:buChar char="−"/>
      <a:defRPr sz="900" kern="1200">
        <a:solidFill>
          <a:schemeClr val="tx1"/>
        </a:solidFill>
        <a:latin typeface="SKODA Next" panose="020B0504020603020204" pitchFamily="34" charset="0"/>
        <a:ea typeface="+mn-ea"/>
        <a:cs typeface="+mn-cs"/>
      </a:defRPr>
    </a:lvl8pPr>
    <a:lvl9pPr marL="1620000" indent="-180000" algn="l" defTabSz="1042742" rtl="0" eaLnBrk="1" latinLnBrk="0" hangingPunct="1">
      <a:buFont typeface="SKODA Next" panose="020B0504020603020204" pitchFamily="34" charset="0"/>
      <a:buChar char="−"/>
      <a:defRPr sz="900" kern="1200">
        <a:solidFill>
          <a:schemeClr val="tx1"/>
        </a:solidFill>
        <a:latin typeface="SKODA Next" panose="020B0504020603020204" pitchFamily="34" charset="0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DCD363E-0387-4F03-A368-7EC1FE0C90C6}" type="slidenum">
              <a:rPr lang="en-GB" smtClean="0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774144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5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3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5.png"/><Relationship Id="rId4" Type="http://schemas.openxmlformats.org/officeDocument/2006/relationships/image" Target="../media/image13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7" Type="http://schemas.openxmlformats.org/officeDocument/2006/relationships/image" Target="../media/image5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0.bin"/><Relationship Id="rId4" Type="http://schemas.openxmlformats.org/officeDocument/2006/relationships/image" Target="../media/image2.sv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3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7" Type="http://schemas.openxmlformats.org/officeDocument/2006/relationships/image" Target="../media/image3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3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21.sv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3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3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37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microsoft.com/office/2007/relationships/hdphoto" Target="../media/hdphoto3.wdp"/><Relationship Id="rId7" Type="http://schemas.microsoft.com/office/2007/relationships/hdphoto" Target="../media/hdphoto2.wdp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3.png"/><Relationship Id="rId5" Type="http://schemas.microsoft.com/office/2007/relationships/hdphoto" Target="../media/hdphoto1.wdp"/><Relationship Id="rId4" Type="http://schemas.openxmlformats.org/officeDocument/2006/relationships/image" Target="../media/image22.pn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5.sv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9.svg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9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2.bin"/><Relationship Id="rId4" Type="http://schemas.openxmlformats.org/officeDocument/2006/relationships/image" Target="../media/image5.sv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7" Type="http://schemas.openxmlformats.org/officeDocument/2006/relationships/image" Target="../media/image3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0.xml"/><Relationship Id="rId6" Type="http://schemas.openxmlformats.org/officeDocument/2006/relationships/oleObject" Target="../embeddings/oleObject13.bin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g"/><Relationship Id="rId7" Type="http://schemas.openxmlformats.org/officeDocument/2006/relationships/image" Target="../media/image3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1.xml"/><Relationship Id="rId6" Type="http://schemas.openxmlformats.org/officeDocument/2006/relationships/oleObject" Target="../embeddings/oleObject14.bin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2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5.bin"/><Relationship Id="rId4" Type="http://schemas.openxmlformats.org/officeDocument/2006/relationships/image" Target="../media/image5.sv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3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6.bin"/><Relationship Id="rId4" Type="http://schemas.openxmlformats.org/officeDocument/2006/relationships/image" Target="../media/image5.sv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4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7.bin"/><Relationship Id="rId4" Type="http://schemas.openxmlformats.org/officeDocument/2006/relationships/image" Target="../media/image5.sv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5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8.bin"/><Relationship Id="rId4" Type="http://schemas.openxmlformats.org/officeDocument/2006/relationships/image" Target="../media/image5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.bin"/><Relationship Id="rId4" Type="http://schemas.openxmlformats.org/officeDocument/2006/relationships/image" Target="../media/image5.svg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.bin"/><Relationship Id="rId4" Type="http://schemas.openxmlformats.org/officeDocument/2006/relationships/image" Target="../media/image5.svg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sv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BFF7A7E-2F88-BCC5-C055-008483D90682}"/>
              </a:ext>
            </a:extLst>
          </p:cNvPr>
          <p:cNvSpPr/>
          <p:nvPr userDrawn="1"/>
        </p:nvSpPr>
        <p:spPr>
          <a:xfrm>
            <a:off x="0" y="0"/>
            <a:ext cx="5220000" cy="1404000"/>
          </a:xfrm>
          <a:custGeom>
            <a:avLst/>
            <a:gdLst>
              <a:gd name="connsiteX0" fmla="*/ 0 w 5220000"/>
              <a:gd name="connsiteY0" fmla="*/ 0 h 1404000"/>
              <a:gd name="connsiteX1" fmla="*/ 5220000 w 5220000"/>
              <a:gd name="connsiteY1" fmla="*/ 0 h 1404000"/>
              <a:gd name="connsiteX2" fmla="*/ 5220000 w 5220000"/>
              <a:gd name="connsiteY2" fmla="*/ 1404000 h 1404000"/>
              <a:gd name="connsiteX3" fmla="*/ 0 w 5220000"/>
              <a:gd name="connsiteY3" fmla="*/ 1404000 h 1404000"/>
              <a:gd name="connsiteX4" fmla="*/ 0 w 5220000"/>
              <a:gd name="connsiteY4" fmla="*/ 0 h 1404000"/>
              <a:gd name="connsiteX0" fmla="*/ 0 w 5220000"/>
              <a:gd name="connsiteY0" fmla="*/ 0 h 1404000"/>
              <a:gd name="connsiteX1" fmla="*/ 5220000 w 5220000"/>
              <a:gd name="connsiteY1" fmla="*/ 0 h 1404000"/>
              <a:gd name="connsiteX2" fmla="*/ 5220000 w 5220000"/>
              <a:gd name="connsiteY2" fmla="*/ 1404000 h 1404000"/>
              <a:gd name="connsiteX3" fmla="*/ 0 w 5220000"/>
              <a:gd name="connsiteY3" fmla="*/ 1404000 h 1404000"/>
              <a:gd name="connsiteX4" fmla="*/ 0 w 5220000"/>
              <a:gd name="connsiteY4" fmla="*/ 0 h 1404000"/>
              <a:gd name="connsiteX0" fmla="*/ 0 w 5220000"/>
              <a:gd name="connsiteY0" fmla="*/ 0 h 1404000"/>
              <a:gd name="connsiteX1" fmla="*/ 5220000 w 5220000"/>
              <a:gd name="connsiteY1" fmla="*/ 0 h 1404000"/>
              <a:gd name="connsiteX2" fmla="*/ 0 w 5220000"/>
              <a:gd name="connsiteY2" fmla="*/ 1404000 h 1404000"/>
              <a:gd name="connsiteX3" fmla="*/ 0 w 5220000"/>
              <a:gd name="connsiteY3" fmla="*/ 0 h 140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20000" h="1404000">
                <a:moveTo>
                  <a:pt x="0" y="0"/>
                </a:moveTo>
                <a:lnTo>
                  <a:pt x="5220000" y="0"/>
                </a:lnTo>
                <a:lnTo>
                  <a:pt x="0" y="1404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noProof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CBDC93D-8677-8F98-0413-5586CAD9ECEE}"/>
              </a:ext>
            </a:extLst>
          </p:cNvPr>
          <p:cNvSpPr/>
          <p:nvPr userDrawn="1"/>
        </p:nvSpPr>
        <p:spPr>
          <a:xfrm>
            <a:off x="8136000" y="0"/>
            <a:ext cx="2556000" cy="6011863"/>
          </a:xfrm>
          <a:custGeom>
            <a:avLst/>
            <a:gdLst>
              <a:gd name="connsiteX0" fmla="*/ 0 w 2556000"/>
              <a:gd name="connsiteY0" fmla="*/ 0 h 6011863"/>
              <a:gd name="connsiteX1" fmla="*/ 2556000 w 2556000"/>
              <a:gd name="connsiteY1" fmla="*/ 0 h 6011863"/>
              <a:gd name="connsiteX2" fmla="*/ 2556000 w 2556000"/>
              <a:gd name="connsiteY2" fmla="*/ 6011863 h 6011863"/>
              <a:gd name="connsiteX3" fmla="*/ 0 w 2556000"/>
              <a:gd name="connsiteY3" fmla="*/ 6011863 h 6011863"/>
              <a:gd name="connsiteX4" fmla="*/ 0 w 2556000"/>
              <a:gd name="connsiteY4" fmla="*/ 0 h 6011863"/>
              <a:gd name="connsiteX0" fmla="*/ 1600200 w 2556000"/>
              <a:gd name="connsiteY0" fmla="*/ 0 h 6011863"/>
              <a:gd name="connsiteX1" fmla="*/ 2556000 w 2556000"/>
              <a:gd name="connsiteY1" fmla="*/ 0 h 6011863"/>
              <a:gd name="connsiteX2" fmla="*/ 2556000 w 2556000"/>
              <a:gd name="connsiteY2" fmla="*/ 6011863 h 6011863"/>
              <a:gd name="connsiteX3" fmla="*/ 0 w 2556000"/>
              <a:gd name="connsiteY3" fmla="*/ 6011863 h 6011863"/>
              <a:gd name="connsiteX4" fmla="*/ 1600200 w 2556000"/>
              <a:gd name="connsiteY4" fmla="*/ 0 h 6011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6000" h="6011863">
                <a:moveTo>
                  <a:pt x="1600200" y="0"/>
                </a:moveTo>
                <a:lnTo>
                  <a:pt x="2556000" y="0"/>
                </a:lnTo>
                <a:lnTo>
                  <a:pt x="2556000" y="6011863"/>
                </a:lnTo>
                <a:lnTo>
                  <a:pt x="0" y="6011863"/>
                </a:lnTo>
                <a:lnTo>
                  <a:pt x="1600200" y="0"/>
                </a:lnTo>
                <a:close/>
              </a:path>
            </a:pathLst>
          </a:cu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noProof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621EEB25-02FD-89D3-1BD1-8F48F076C97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571122" y="5556311"/>
            <a:ext cx="1671428" cy="180000"/>
          </a:xfrm>
          <a:prstGeom prst="rect">
            <a:avLst/>
          </a:prstGeom>
        </p:spPr>
      </p:pic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264"/>
          <a:ext cx="1587" cy="12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9" imgH="398" progId="TCLayout.ActiveDocument.1">
                  <p:embed/>
                </p:oleObj>
              </mc:Choice>
              <mc:Fallback>
                <p:oleObj name="think-cell Slide" r:id="rId5" imgW="399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264"/>
                        <a:ext cx="1587" cy="12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 userDrawn="1">
            <p:ph type="title" hasCustomPrompt="1"/>
          </p:nvPr>
        </p:nvSpPr>
        <p:spPr>
          <a:xfrm>
            <a:off x="449263" y="1314450"/>
            <a:ext cx="7686550" cy="4032250"/>
          </a:xfrm>
        </p:spPr>
        <p:txBody>
          <a:bodyPr anchor="b" anchorCtr="0">
            <a:noAutofit/>
          </a:bodyPr>
          <a:lstStyle>
            <a:lvl1pPr>
              <a:lnSpc>
                <a:spcPts val="6000"/>
              </a:lnSpc>
              <a:defRPr sz="6000" b="0" cap="none" baseline="0">
                <a:solidFill>
                  <a:schemeClr val="accent1"/>
                </a:solidFill>
                <a:latin typeface="SKODA Next Light" panose="020B0304020603020204" pitchFamily="34" charset="0"/>
              </a:defRPr>
            </a:lvl1pPr>
          </a:lstStyle>
          <a:p>
            <a:r>
              <a:rPr lang="cs-CZ" noProof="0"/>
              <a:t>Název</a:t>
            </a:r>
            <a:br>
              <a:rPr lang="cs-CZ" noProof="0"/>
            </a:br>
            <a:r>
              <a:rPr lang="cs-CZ" noProof="0"/>
              <a:t>prezentace</a:t>
            </a:r>
          </a:p>
        </p:txBody>
      </p:sp>
      <p:sp>
        <p:nvSpPr>
          <p:cNvPr id="16" name="Zástupný symbol pro číslo snímku 5"/>
          <p:cNvSpPr>
            <a:spLocks noGrp="1"/>
          </p:cNvSpPr>
          <p:nvPr userDrawn="1">
            <p:ph type="sldNum" sz="quarter" idx="10"/>
          </p:nvPr>
        </p:nvSpPr>
        <p:spPr>
          <a:xfrm>
            <a:off x="449263" y="5776670"/>
            <a:ext cx="269960" cy="180000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22" name="Zástupný symbol pro zápatí 6"/>
          <p:cNvSpPr>
            <a:spLocks noGrp="1"/>
          </p:cNvSpPr>
          <p:nvPr userDrawn="1">
            <p:ph type="ftr" sz="quarter" idx="11"/>
          </p:nvPr>
        </p:nvSpPr>
        <p:spPr>
          <a:xfrm>
            <a:off x="449262" y="5598000"/>
            <a:ext cx="7686737" cy="180000"/>
          </a:xfrm>
          <a:noFill/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1200" b="0" smtClean="0">
                <a:solidFill>
                  <a:schemeClr val="accent1"/>
                </a:solidFill>
                <a:effectLst/>
                <a:latin typeface="SKODA Next Light" panose="020B0304020603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cs-CZ" noProof="0"/>
              <a:t>| 08.11. 2023 | Odborná praxe | GQD-1 | Ondřej Hlaváček</a:t>
            </a:r>
          </a:p>
        </p:txBody>
      </p:sp>
    </p:spTree>
    <p:extLst>
      <p:ext uri="{BB962C8B-B14F-4D97-AF65-F5344CB8AC3E}">
        <p14:creationId xmlns:p14="http://schemas.microsoft.com/office/powerpoint/2010/main" val="814654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ets Mobi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2BC73856-9920-FB4D-1FA1-5AD01A9B1773}"/>
              </a:ext>
            </a:extLst>
          </p:cNvPr>
          <p:cNvSpPr/>
          <p:nvPr userDrawn="1"/>
        </p:nvSpPr>
        <p:spPr>
          <a:xfrm>
            <a:off x="4111557" y="0"/>
            <a:ext cx="6580443" cy="6011863"/>
          </a:xfrm>
          <a:custGeom>
            <a:avLst/>
            <a:gdLst>
              <a:gd name="connsiteX0" fmla="*/ 0 w 6840000"/>
              <a:gd name="connsiteY0" fmla="*/ 0 h 6011863"/>
              <a:gd name="connsiteX1" fmla="*/ 6840000 w 6840000"/>
              <a:gd name="connsiteY1" fmla="*/ 0 h 6011863"/>
              <a:gd name="connsiteX2" fmla="*/ 6840000 w 6840000"/>
              <a:gd name="connsiteY2" fmla="*/ 6011863 h 6011863"/>
              <a:gd name="connsiteX3" fmla="*/ 0 w 6840000"/>
              <a:gd name="connsiteY3" fmla="*/ 6011863 h 6011863"/>
              <a:gd name="connsiteX4" fmla="*/ 0 w 6840000"/>
              <a:gd name="connsiteY4" fmla="*/ 0 h 6011863"/>
              <a:gd name="connsiteX0" fmla="*/ 1602582 w 6840000"/>
              <a:gd name="connsiteY0" fmla="*/ 0 h 6011863"/>
              <a:gd name="connsiteX1" fmla="*/ 6840000 w 6840000"/>
              <a:gd name="connsiteY1" fmla="*/ 0 h 6011863"/>
              <a:gd name="connsiteX2" fmla="*/ 6840000 w 6840000"/>
              <a:gd name="connsiteY2" fmla="*/ 6011863 h 6011863"/>
              <a:gd name="connsiteX3" fmla="*/ 0 w 6840000"/>
              <a:gd name="connsiteY3" fmla="*/ 6011863 h 6011863"/>
              <a:gd name="connsiteX4" fmla="*/ 1602582 w 6840000"/>
              <a:gd name="connsiteY4" fmla="*/ 0 h 6011863"/>
              <a:gd name="connsiteX0" fmla="*/ 1869282 w 6840000"/>
              <a:gd name="connsiteY0" fmla="*/ 0 h 6011863"/>
              <a:gd name="connsiteX1" fmla="*/ 6840000 w 6840000"/>
              <a:gd name="connsiteY1" fmla="*/ 0 h 6011863"/>
              <a:gd name="connsiteX2" fmla="*/ 6840000 w 6840000"/>
              <a:gd name="connsiteY2" fmla="*/ 6011863 h 6011863"/>
              <a:gd name="connsiteX3" fmla="*/ 0 w 6840000"/>
              <a:gd name="connsiteY3" fmla="*/ 6011863 h 6011863"/>
              <a:gd name="connsiteX4" fmla="*/ 1869282 w 6840000"/>
              <a:gd name="connsiteY4" fmla="*/ 0 h 6011863"/>
              <a:gd name="connsiteX0" fmla="*/ 1609725 w 6580443"/>
              <a:gd name="connsiteY0" fmla="*/ 0 h 6011863"/>
              <a:gd name="connsiteX1" fmla="*/ 6580443 w 6580443"/>
              <a:gd name="connsiteY1" fmla="*/ 0 h 6011863"/>
              <a:gd name="connsiteX2" fmla="*/ 6580443 w 6580443"/>
              <a:gd name="connsiteY2" fmla="*/ 6011863 h 6011863"/>
              <a:gd name="connsiteX3" fmla="*/ 0 w 6580443"/>
              <a:gd name="connsiteY3" fmla="*/ 6011863 h 6011863"/>
              <a:gd name="connsiteX4" fmla="*/ 1609725 w 6580443"/>
              <a:gd name="connsiteY4" fmla="*/ 0 h 6011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80443" h="6011863">
                <a:moveTo>
                  <a:pt x="1609725" y="0"/>
                </a:moveTo>
                <a:lnTo>
                  <a:pt x="6580443" y="0"/>
                </a:lnTo>
                <a:lnTo>
                  <a:pt x="6580443" y="6011863"/>
                </a:lnTo>
                <a:lnTo>
                  <a:pt x="0" y="6011863"/>
                </a:lnTo>
                <a:lnTo>
                  <a:pt x="1609725" y="0"/>
                </a:lnTo>
                <a:close/>
              </a:path>
            </a:pathLst>
          </a:cu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noProof="0"/>
          </a:p>
        </p:txBody>
      </p:sp>
      <p:pic>
        <p:nvPicPr>
          <p:cNvPr id="2" name="Picture 1" descr="A black smartphone with a green screen&#10;&#10;Description automatically generated with low confidence">
            <a:extLst>
              <a:ext uri="{FF2B5EF4-FFF2-40B4-BE49-F238E27FC236}">
                <a16:creationId xmlns:a16="http://schemas.microsoft.com/office/drawing/2014/main" id="{FB079381-B007-27B5-FF2B-BD7E2735274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7942" y="873342"/>
            <a:ext cx="2261882" cy="4380510"/>
          </a:xfrm>
          <a:prstGeom prst="rect">
            <a:avLst/>
          </a:prstGeom>
        </p:spPr>
      </p:pic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| 08.11. 2023 | Odborná praxe | GQD-1 | Ondřej Hlaváček</a:t>
            </a:r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4" y="648000"/>
            <a:ext cx="4680000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>
          <a:xfrm>
            <a:off x="449264" y="269875"/>
            <a:ext cx="4680000" cy="360000"/>
          </a:xfrm>
        </p:spPr>
        <p:txBody>
          <a:bodyPr/>
          <a:lstStyle>
            <a:lvl1pPr>
              <a:defRPr/>
            </a:lvl1pPr>
          </a:lstStyle>
          <a:p>
            <a:r>
              <a:rPr lang="cs-CZ" noProof="0"/>
              <a:t>Nadpis (shrnutí stránky)</a:t>
            </a:r>
          </a:p>
        </p:txBody>
      </p:sp>
      <p:sp>
        <p:nvSpPr>
          <p:cNvPr id="5" name="Zástupný symbol pro obsah 2">
            <a:extLst>
              <a:ext uri="{FF2B5EF4-FFF2-40B4-BE49-F238E27FC236}">
                <a16:creationId xmlns:a16="http://schemas.microsoft.com/office/drawing/2014/main" id="{3471EC78-B29A-0B43-3BBF-4728093475C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49264" y="1314450"/>
            <a:ext cx="3456000" cy="4032250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  <a:lvl6pPr marL="900000" indent="0">
              <a:buNone/>
              <a:defRPr/>
            </a:lvl6pPr>
          </a:lstStyle>
          <a:p>
            <a:pPr lvl="0"/>
            <a:r>
              <a:rPr lang="cs-CZ" noProof="0"/>
              <a:t>První úroveň</a:t>
            </a:r>
          </a:p>
          <a:p>
            <a:pPr lvl="1"/>
            <a:r>
              <a:rPr lang="cs-CZ" noProof="0"/>
              <a:t>Druhá úroveň</a:t>
            </a:r>
          </a:p>
          <a:p>
            <a:pPr lvl="2"/>
            <a:r>
              <a:rPr lang="cs-CZ" noProof="0"/>
              <a:t>Třetí úroveň</a:t>
            </a:r>
          </a:p>
          <a:p>
            <a:pPr lvl="3"/>
            <a:r>
              <a:rPr lang="cs-CZ" noProof="0"/>
              <a:t>Čtvrtá úroveň</a:t>
            </a:r>
          </a:p>
          <a:p>
            <a:pPr lvl="4"/>
            <a:r>
              <a:rPr lang="cs-CZ" noProof="0"/>
              <a:t>Pátá úroveň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3218803C-0D0E-BA73-E8EB-53888552656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39693" y="5660476"/>
            <a:ext cx="1002857" cy="108000"/>
          </a:xfrm>
          <a:prstGeom prst="rect">
            <a:avLst/>
          </a:prstGeom>
        </p:spPr>
      </p:pic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804DA798-6702-22E7-2B26-4A61B09ABC95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993683" y="981810"/>
            <a:ext cx="1854048" cy="4031251"/>
          </a:xfrm>
          <a:custGeom>
            <a:avLst/>
            <a:gdLst>
              <a:gd name="connsiteX0" fmla="*/ 163971 w 1854048"/>
              <a:gd name="connsiteY0" fmla="*/ 0 h 4031251"/>
              <a:gd name="connsiteX1" fmla="*/ 364469 w 1854048"/>
              <a:gd name="connsiteY1" fmla="*/ 0 h 4031251"/>
              <a:gd name="connsiteX2" fmla="*/ 393066 w 1854048"/>
              <a:gd name="connsiteY2" fmla="*/ 4326 h 4031251"/>
              <a:gd name="connsiteX3" fmla="*/ 414386 w 1854048"/>
              <a:gd name="connsiteY3" fmla="*/ 44511 h 4031251"/>
              <a:gd name="connsiteX4" fmla="*/ 445343 w 1854048"/>
              <a:gd name="connsiteY4" fmla="*/ 125472 h 4031251"/>
              <a:gd name="connsiteX5" fmla="*/ 535829 w 1854048"/>
              <a:gd name="connsiteY5" fmla="*/ 151666 h 4031251"/>
              <a:gd name="connsiteX6" fmla="*/ 1324023 w 1854048"/>
              <a:gd name="connsiteY6" fmla="*/ 154048 h 4031251"/>
              <a:gd name="connsiteX7" fmla="*/ 1412130 w 1854048"/>
              <a:gd name="connsiteY7" fmla="*/ 115948 h 4031251"/>
              <a:gd name="connsiteX8" fmla="*/ 1438324 w 1854048"/>
              <a:gd name="connsiteY8" fmla="*/ 56417 h 4031251"/>
              <a:gd name="connsiteX9" fmla="*/ 1495473 w 1854048"/>
              <a:gd name="connsiteY9" fmla="*/ 4028 h 4031251"/>
              <a:gd name="connsiteX10" fmla="*/ 1671684 w 1854048"/>
              <a:gd name="connsiteY10" fmla="*/ 6410 h 4031251"/>
              <a:gd name="connsiteX11" fmla="*/ 1816942 w 1854048"/>
              <a:gd name="connsiteY11" fmla="*/ 82610 h 4031251"/>
              <a:gd name="connsiteX12" fmla="*/ 1852103 w 1854048"/>
              <a:gd name="connsiteY12" fmla="*/ 175925 h 4031251"/>
              <a:gd name="connsiteX13" fmla="*/ 1854048 w 1854048"/>
              <a:gd name="connsiteY13" fmla="*/ 210300 h 4031251"/>
              <a:gd name="connsiteX14" fmla="*/ 1854048 w 1854048"/>
              <a:gd name="connsiteY14" fmla="*/ 3846889 h 4031251"/>
              <a:gd name="connsiteX15" fmla="*/ 1845815 w 1854048"/>
              <a:gd name="connsiteY15" fmla="*/ 3894099 h 4031251"/>
              <a:gd name="connsiteX16" fmla="*/ 1807418 w 1854048"/>
              <a:gd name="connsiteY16" fmla="*/ 3964048 h 4031251"/>
              <a:gd name="connsiteX17" fmla="*/ 1595486 w 1854048"/>
              <a:gd name="connsiteY17" fmla="*/ 4030722 h 4031251"/>
              <a:gd name="connsiteX18" fmla="*/ 245316 w 1854048"/>
              <a:gd name="connsiteY18" fmla="*/ 4030723 h 4031251"/>
              <a:gd name="connsiteX19" fmla="*/ 50055 w 1854048"/>
              <a:gd name="connsiteY19" fmla="*/ 3966430 h 4031251"/>
              <a:gd name="connsiteX20" fmla="*/ 48 w 1854048"/>
              <a:gd name="connsiteY20" fmla="*/ 3785454 h 4031251"/>
              <a:gd name="connsiteX21" fmla="*/ 48 w 1854048"/>
              <a:gd name="connsiteY21" fmla="*/ 251679 h 4031251"/>
              <a:gd name="connsiteX22" fmla="*/ 47675 w 1854048"/>
              <a:gd name="connsiteY22" fmla="*/ 61178 h 4031251"/>
              <a:gd name="connsiteX23" fmla="*/ 127930 w 1854048"/>
              <a:gd name="connsiteY23" fmla="*/ 9555 h 40312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854048" h="4031251">
                <a:moveTo>
                  <a:pt x="163971" y="0"/>
                </a:moveTo>
                <a:lnTo>
                  <a:pt x="364469" y="0"/>
                </a:lnTo>
                <a:lnTo>
                  <a:pt x="393066" y="4326"/>
                </a:lnTo>
                <a:cubicBezTo>
                  <a:pt x="415576" y="11024"/>
                  <a:pt x="409624" y="23080"/>
                  <a:pt x="414386" y="44511"/>
                </a:cubicBezTo>
                <a:cubicBezTo>
                  <a:pt x="418754" y="87374"/>
                  <a:pt x="425102" y="98088"/>
                  <a:pt x="445343" y="125472"/>
                </a:cubicBezTo>
                <a:cubicBezTo>
                  <a:pt x="465584" y="152856"/>
                  <a:pt x="485823" y="152063"/>
                  <a:pt x="535829" y="151666"/>
                </a:cubicBezTo>
                <a:lnTo>
                  <a:pt x="1324023" y="154048"/>
                </a:lnTo>
                <a:cubicBezTo>
                  <a:pt x="1376411" y="150873"/>
                  <a:pt x="1390699" y="132220"/>
                  <a:pt x="1412130" y="115948"/>
                </a:cubicBezTo>
                <a:cubicBezTo>
                  <a:pt x="1433561" y="99676"/>
                  <a:pt x="1436340" y="77451"/>
                  <a:pt x="1438324" y="56417"/>
                </a:cubicBezTo>
                <a:cubicBezTo>
                  <a:pt x="1440308" y="35383"/>
                  <a:pt x="1429592" y="1647"/>
                  <a:pt x="1495473" y="4028"/>
                </a:cubicBezTo>
                <a:cubicBezTo>
                  <a:pt x="1556592" y="4028"/>
                  <a:pt x="1603818" y="5219"/>
                  <a:pt x="1671684" y="6410"/>
                </a:cubicBezTo>
                <a:cubicBezTo>
                  <a:pt x="1739550" y="7601"/>
                  <a:pt x="1789955" y="46495"/>
                  <a:pt x="1816942" y="82610"/>
                </a:cubicBezTo>
                <a:cubicBezTo>
                  <a:pt x="1833015" y="107018"/>
                  <a:pt x="1846410" y="131426"/>
                  <a:pt x="1852103" y="175925"/>
                </a:cubicBezTo>
                <a:lnTo>
                  <a:pt x="1854048" y="210300"/>
                </a:lnTo>
                <a:lnTo>
                  <a:pt x="1854048" y="3846889"/>
                </a:lnTo>
                <a:lnTo>
                  <a:pt x="1845815" y="3894099"/>
                </a:lnTo>
                <a:cubicBezTo>
                  <a:pt x="1836787" y="3926147"/>
                  <a:pt x="1823293" y="3947379"/>
                  <a:pt x="1807418" y="3964048"/>
                </a:cubicBezTo>
                <a:cubicBezTo>
                  <a:pt x="1775668" y="3997386"/>
                  <a:pt x="1715342" y="4031517"/>
                  <a:pt x="1595486" y="4030722"/>
                </a:cubicBezTo>
                <a:cubicBezTo>
                  <a:pt x="1145429" y="4030722"/>
                  <a:pt x="355250" y="4031912"/>
                  <a:pt x="245316" y="4030723"/>
                </a:cubicBezTo>
                <a:cubicBezTo>
                  <a:pt x="135382" y="4029534"/>
                  <a:pt x="90933" y="4007308"/>
                  <a:pt x="50055" y="3966430"/>
                </a:cubicBezTo>
                <a:cubicBezTo>
                  <a:pt x="9177" y="3925552"/>
                  <a:pt x="1635" y="3884276"/>
                  <a:pt x="48" y="3785454"/>
                </a:cubicBezTo>
                <a:lnTo>
                  <a:pt x="48" y="251679"/>
                </a:lnTo>
                <a:cubicBezTo>
                  <a:pt x="-1143" y="128646"/>
                  <a:pt x="19894" y="96103"/>
                  <a:pt x="47675" y="61178"/>
                </a:cubicBezTo>
                <a:cubicBezTo>
                  <a:pt x="68511" y="34984"/>
                  <a:pt x="92918" y="20623"/>
                  <a:pt x="127930" y="9555"/>
                </a:cubicBezTo>
                <a:close/>
              </a:path>
            </a:pathLst>
          </a:custGeom>
          <a:ln w="3175">
            <a:noFill/>
          </a:ln>
        </p:spPr>
        <p:txBody>
          <a:bodyPr wrap="square" tIns="180000" rIns="0">
            <a:noAutofit/>
          </a:bodyPr>
          <a:lstStyle>
            <a:lvl1pPr algn="ctr">
              <a:spcBef>
                <a:spcPts val="0"/>
              </a:spcBef>
              <a:buFontTx/>
              <a:buNone/>
              <a:defRPr>
                <a:solidFill>
                  <a:schemeClr val="accent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Obr</a:t>
            </a:r>
          </a:p>
        </p:txBody>
      </p:sp>
    </p:spTree>
    <p:extLst>
      <p:ext uri="{BB962C8B-B14F-4D97-AF65-F5344CB8AC3E}">
        <p14:creationId xmlns:p14="http://schemas.microsoft.com/office/powerpoint/2010/main" val="2538004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ets NT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2BC73856-9920-FB4D-1FA1-5AD01A9B1773}"/>
              </a:ext>
            </a:extLst>
          </p:cNvPr>
          <p:cNvSpPr/>
          <p:nvPr userDrawn="1"/>
        </p:nvSpPr>
        <p:spPr>
          <a:xfrm>
            <a:off x="3852000" y="0"/>
            <a:ext cx="6840000" cy="6011863"/>
          </a:xfrm>
          <a:custGeom>
            <a:avLst/>
            <a:gdLst>
              <a:gd name="connsiteX0" fmla="*/ 0 w 6840000"/>
              <a:gd name="connsiteY0" fmla="*/ 0 h 6011863"/>
              <a:gd name="connsiteX1" fmla="*/ 6840000 w 6840000"/>
              <a:gd name="connsiteY1" fmla="*/ 0 h 6011863"/>
              <a:gd name="connsiteX2" fmla="*/ 6840000 w 6840000"/>
              <a:gd name="connsiteY2" fmla="*/ 6011863 h 6011863"/>
              <a:gd name="connsiteX3" fmla="*/ 0 w 6840000"/>
              <a:gd name="connsiteY3" fmla="*/ 6011863 h 6011863"/>
              <a:gd name="connsiteX4" fmla="*/ 0 w 6840000"/>
              <a:gd name="connsiteY4" fmla="*/ 0 h 6011863"/>
              <a:gd name="connsiteX0" fmla="*/ 1602582 w 6840000"/>
              <a:gd name="connsiteY0" fmla="*/ 0 h 6011863"/>
              <a:gd name="connsiteX1" fmla="*/ 6840000 w 6840000"/>
              <a:gd name="connsiteY1" fmla="*/ 0 h 6011863"/>
              <a:gd name="connsiteX2" fmla="*/ 6840000 w 6840000"/>
              <a:gd name="connsiteY2" fmla="*/ 6011863 h 6011863"/>
              <a:gd name="connsiteX3" fmla="*/ 0 w 6840000"/>
              <a:gd name="connsiteY3" fmla="*/ 6011863 h 6011863"/>
              <a:gd name="connsiteX4" fmla="*/ 1602582 w 6840000"/>
              <a:gd name="connsiteY4" fmla="*/ 0 h 6011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40000" h="6011863">
                <a:moveTo>
                  <a:pt x="1602582" y="0"/>
                </a:moveTo>
                <a:lnTo>
                  <a:pt x="6840000" y="0"/>
                </a:lnTo>
                <a:lnTo>
                  <a:pt x="6840000" y="6011863"/>
                </a:lnTo>
                <a:lnTo>
                  <a:pt x="0" y="6011863"/>
                </a:lnTo>
                <a:lnTo>
                  <a:pt x="1602582" y="0"/>
                </a:lnTo>
                <a:close/>
              </a:path>
            </a:pathLst>
          </a:cu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noProof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| 08.11. 2023 | Odborná praxe | GQD-1 | Ondřej Hlaváček</a:t>
            </a:r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4" y="648000"/>
            <a:ext cx="4680000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>
          <a:xfrm>
            <a:off x="449264" y="269875"/>
            <a:ext cx="4680000" cy="360000"/>
          </a:xfrm>
        </p:spPr>
        <p:txBody>
          <a:bodyPr/>
          <a:lstStyle>
            <a:lvl1pPr>
              <a:defRPr/>
            </a:lvl1pPr>
          </a:lstStyle>
          <a:p>
            <a:r>
              <a:rPr lang="cs-CZ" noProof="0"/>
              <a:t>Nadpis (shrnutí stránky)</a:t>
            </a:r>
          </a:p>
        </p:txBody>
      </p:sp>
      <p:sp>
        <p:nvSpPr>
          <p:cNvPr id="5" name="Zástupný symbol pro obsah 2">
            <a:extLst>
              <a:ext uri="{FF2B5EF4-FFF2-40B4-BE49-F238E27FC236}">
                <a16:creationId xmlns:a16="http://schemas.microsoft.com/office/drawing/2014/main" id="{3471EC78-B29A-0B43-3BBF-4728093475C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49264" y="1314450"/>
            <a:ext cx="3456000" cy="4032250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/>
              <a:t>První úroveň</a:t>
            </a:r>
          </a:p>
          <a:p>
            <a:pPr lvl="1"/>
            <a:r>
              <a:rPr lang="cs-CZ" noProof="0"/>
              <a:t>Druhá úroveň</a:t>
            </a:r>
          </a:p>
          <a:p>
            <a:pPr lvl="2"/>
            <a:r>
              <a:rPr lang="cs-CZ" noProof="0"/>
              <a:t>Třetí úroveň</a:t>
            </a:r>
          </a:p>
          <a:p>
            <a:pPr lvl="3"/>
            <a:r>
              <a:rPr lang="cs-CZ" noProof="0"/>
              <a:t>Čtvrtá úroveň</a:t>
            </a:r>
          </a:p>
          <a:p>
            <a:pPr lvl="4"/>
            <a:r>
              <a:rPr lang="cs-CZ" noProof="0"/>
              <a:t>Pátá úroveň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3218803C-0D0E-BA73-E8EB-53888552656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39693" y="5660476"/>
            <a:ext cx="1002857" cy="108000"/>
          </a:xfrm>
          <a:prstGeom prst="rect">
            <a:avLst/>
          </a:prstGeom>
        </p:spPr>
      </p:pic>
      <p:pic>
        <p:nvPicPr>
          <p:cNvPr id="16" name="Picture 15" descr="Picture placeholder on NTB">
            <a:extLst>
              <a:ext uri="{FF2B5EF4-FFF2-40B4-BE49-F238E27FC236}">
                <a16:creationId xmlns:a16="http://schemas.microsoft.com/office/drawing/2014/main" id="{2B27DD95-842A-A815-22D8-793B2D351C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855" t="11185" r="2782" b="13217"/>
          <a:stretch/>
        </p:blipFill>
        <p:spPr>
          <a:xfrm>
            <a:off x="4781550" y="1277863"/>
            <a:ext cx="5681663" cy="3365576"/>
          </a:xfrm>
          <a:prstGeom prst="rect">
            <a:avLst/>
          </a:prstGeom>
        </p:spPr>
      </p:pic>
      <p:sp>
        <p:nvSpPr>
          <p:cNvPr id="2" name="Zástupný symbol pro obrázek 10">
            <a:extLst>
              <a:ext uri="{FF2B5EF4-FFF2-40B4-BE49-F238E27FC236}">
                <a16:creationId xmlns:a16="http://schemas.microsoft.com/office/drawing/2014/main" id="{87DEAAE3-7548-B252-8D11-D78AD94E54D2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504180" y="1527175"/>
            <a:ext cx="4248000" cy="2664000"/>
          </a:xfrm>
        </p:spPr>
        <p:txBody>
          <a:bodyPr/>
          <a:lstStyle>
            <a:lvl1pPr algn="ctr">
              <a:buFontTx/>
              <a:buNone/>
              <a:defRPr>
                <a:solidFill>
                  <a:schemeClr val="accent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Obr</a:t>
            </a:r>
          </a:p>
        </p:txBody>
      </p:sp>
    </p:spTree>
    <p:extLst>
      <p:ext uri="{BB962C8B-B14F-4D97-AF65-F5344CB8AC3E}">
        <p14:creationId xmlns:p14="http://schemas.microsoft.com/office/powerpoint/2010/main" val="2387763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ets Screens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Shape, rectangle&#10;&#10;Description automatically generated">
            <a:extLst>
              <a:ext uri="{FF2B5EF4-FFF2-40B4-BE49-F238E27FC236}">
                <a16:creationId xmlns:a16="http://schemas.microsoft.com/office/drawing/2014/main" id="{DF3E1D76-E1FE-85BE-876E-897BF722D4A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050" y="2091613"/>
            <a:ext cx="3744000" cy="2995200"/>
          </a:xfrm>
          <a:prstGeom prst="rect">
            <a:avLst/>
          </a:prstGeom>
          <a:effectLst>
            <a:softEdge rad="31750"/>
          </a:effectLst>
        </p:spPr>
      </p:pic>
      <p:pic>
        <p:nvPicPr>
          <p:cNvPr id="14" name="Picture 13" descr="A black smartphone with a green screen&#10;&#10;Description automatically generated with low confidence">
            <a:extLst>
              <a:ext uri="{FF2B5EF4-FFF2-40B4-BE49-F238E27FC236}">
                <a16:creationId xmlns:a16="http://schemas.microsoft.com/office/drawing/2014/main" id="{BAFCD9A6-230C-5FDE-7021-3001BC6B300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5395" y="1559470"/>
            <a:ext cx="1016799" cy="1969200"/>
          </a:xfrm>
          <a:prstGeom prst="rect">
            <a:avLst/>
          </a:prstGeom>
        </p:spPr>
      </p:pic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6369D4B5-C1C4-FBDE-DE0B-8CEE20ED2F6A}"/>
              </a:ext>
            </a:extLst>
          </p:cNvPr>
          <p:cNvSpPr/>
          <p:nvPr userDrawn="1"/>
        </p:nvSpPr>
        <p:spPr>
          <a:xfrm>
            <a:off x="4057652" y="4531518"/>
            <a:ext cx="417600" cy="50400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noProof="0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7" name="Zástupný symbol pro zápatí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| 08.11. 2023 | Odborná praxe | GQD-1 | Ondřej Hlaváček</a:t>
            </a:r>
          </a:p>
        </p:txBody>
      </p:sp>
      <p:sp>
        <p:nvSpPr>
          <p:cNvPr id="10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648000"/>
            <a:ext cx="9793288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/>
              <a:t>Podnadpis</a:t>
            </a:r>
          </a:p>
        </p:txBody>
      </p:sp>
      <p:sp>
        <p:nvSpPr>
          <p:cNvPr id="3" name="Nadpis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cs-CZ" noProof="0"/>
              <a:t>Nadpis (shrnutí stránky)</a:t>
            </a:r>
          </a:p>
        </p:txBody>
      </p:sp>
      <p:sp>
        <p:nvSpPr>
          <p:cNvPr id="4" name="Picture Placeholder 18">
            <a:extLst>
              <a:ext uri="{FF2B5EF4-FFF2-40B4-BE49-F238E27FC236}">
                <a16:creationId xmlns:a16="http://schemas.microsoft.com/office/drawing/2014/main" id="{3F5D714F-8A7D-5AF6-0CB7-DFB1A6CB1325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912946" y="1610447"/>
            <a:ext cx="832324" cy="1809720"/>
          </a:xfrm>
          <a:custGeom>
            <a:avLst/>
            <a:gdLst>
              <a:gd name="connsiteX0" fmla="*/ 163971 w 1854048"/>
              <a:gd name="connsiteY0" fmla="*/ 0 h 4031251"/>
              <a:gd name="connsiteX1" fmla="*/ 364469 w 1854048"/>
              <a:gd name="connsiteY1" fmla="*/ 0 h 4031251"/>
              <a:gd name="connsiteX2" fmla="*/ 393066 w 1854048"/>
              <a:gd name="connsiteY2" fmla="*/ 4326 h 4031251"/>
              <a:gd name="connsiteX3" fmla="*/ 414386 w 1854048"/>
              <a:gd name="connsiteY3" fmla="*/ 44511 h 4031251"/>
              <a:gd name="connsiteX4" fmla="*/ 445343 w 1854048"/>
              <a:gd name="connsiteY4" fmla="*/ 125472 h 4031251"/>
              <a:gd name="connsiteX5" fmla="*/ 535829 w 1854048"/>
              <a:gd name="connsiteY5" fmla="*/ 151666 h 4031251"/>
              <a:gd name="connsiteX6" fmla="*/ 1324023 w 1854048"/>
              <a:gd name="connsiteY6" fmla="*/ 154048 h 4031251"/>
              <a:gd name="connsiteX7" fmla="*/ 1412130 w 1854048"/>
              <a:gd name="connsiteY7" fmla="*/ 115948 h 4031251"/>
              <a:gd name="connsiteX8" fmla="*/ 1438324 w 1854048"/>
              <a:gd name="connsiteY8" fmla="*/ 56417 h 4031251"/>
              <a:gd name="connsiteX9" fmla="*/ 1495473 w 1854048"/>
              <a:gd name="connsiteY9" fmla="*/ 4028 h 4031251"/>
              <a:gd name="connsiteX10" fmla="*/ 1671684 w 1854048"/>
              <a:gd name="connsiteY10" fmla="*/ 6410 h 4031251"/>
              <a:gd name="connsiteX11" fmla="*/ 1816942 w 1854048"/>
              <a:gd name="connsiteY11" fmla="*/ 82610 h 4031251"/>
              <a:gd name="connsiteX12" fmla="*/ 1852103 w 1854048"/>
              <a:gd name="connsiteY12" fmla="*/ 175925 h 4031251"/>
              <a:gd name="connsiteX13" fmla="*/ 1854048 w 1854048"/>
              <a:gd name="connsiteY13" fmla="*/ 210300 h 4031251"/>
              <a:gd name="connsiteX14" fmla="*/ 1854048 w 1854048"/>
              <a:gd name="connsiteY14" fmla="*/ 3846889 h 4031251"/>
              <a:gd name="connsiteX15" fmla="*/ 1845815 w 1854048"/>
              <a:gd name="connsiteY15" fmla="*/ 3894099 h 4031251"/>
              <a:gd name="connsiteX16" fmla="*/ 1807418 w 1854048"/>
              <a:gd name="connsiteY16" fmla="*/ 3964048 h 4031251"/>
              <a:gd name="connsiteX17" fmla="*/ 1595486 w 1854048"/>
              <a:gd name="connsiteY17" fmla="*/ 4030722 h 4031251"/>
              <a:gd name="connsiteX18" fmla="*/ 245316 w 1854048"/>
              <a:gd name="connsiteY18" fmla="*/ 4030723 h 4031251"/>
              <a:gd name="connsiteX19" fmla="*/ 50055 w 1854048"/>
              <a:gd name="connsiteY19" fmla="*/ 3966430 h 4031251"/>
              <a:gd name="connsiteX20" fmla="*/ 48 w 1854048"/>
              <a:gd name="connsiteY20" fmla="*/ 3785454 h 4031251"/>
              <a:gd name="connsiteX21" fmla="*/ 48 w 1854048"/>
              <a:gd name="connsiteY21" fmla="*/ 251679 h 4031251"/>
              <a:gd name="connsiteX22" fmla="*/ 47675 w 1854048"/>
              <a:gd name="connsiteY22" fmla="*/ 61178 h 4031251"/>
              <a:gd name="connsiteX23" fmla="*/ 127930 w 1854048"/>
              <a:gd name="connsiteY23" fmla="*/ 9555 h 40312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854048" h="4031251">
                <a:moveTo>
                  <a:pt x="163971" y="0"/>
                </a:moveTo>
                <a:lnTo>
                  <a:pt x="364469" y="0"/>
                </a:lnTo>
                <a:lnTo>
                  <a:pt x="393066" y="4326"/>
                </a:lnTo>
                <a:cubicBezTo>
                  <a:pt x="415576" y="11024"/>
                  <a:pt x="409624" y="23080"/>
                  <a:pt x="414386" y="44511"/>
                </a:cubicBezTo>
                <a:cubicBezTo>
                  <a:pt x="418754" y="87374"/>
                  <a:pt x="425102" y="98088"/>
                  <a:pt x="445343" y="125472"/>
                </a:cubicBezTo>
                <a:cubicBezTo>
                  <a:pt x="465584" y="152856"/>
                  <a:pt x="485823" y="152063"/>
                  <a:pt x="535829" y="151666"/>
                </a:cubicBezTo>
                <a:lnTo>
                  <a:pt x="1324023" y="154048"/>
                </a:lnTo>
                <a:cubicBezTo>
                  <a:pt x="1376411" y="150873"/>
                  <a:pt x="1390699" y="132220"/>
                  <a:pt x="1412130" y="115948"/>
                </a:cubicBezTo>
                <a:cubicBezTo>
                  <a:pt x="1433561" y="99676"/>
                  <a:pt x="1436340" y="77451"/>
                  <a:pt x="1438324" y="56417"/>
                </a:cubicBezTo>
                <a:cubicBezTo>
                  <a:pt x="1440308" y="35383"/>
                  <a:pt x="1429592" y="1647"/>
                  <a:pt x="1495473" y="4028"/>
                </a:cubicBezTo>
                <a:cubicBezTo>
                  <a:pt x="1556592" y="4028"/>
                  <a:pt x="1603818" y="5219"/>
                  <a:pt x="1671684" y="6410"/>
                </a:cubicBezTo>
                <a:cubicBezTo>
                  <a:pt x="1739550" y="7601"/>
                  <a:pt x="1789955" y="46495"/>
                  <a:pt x="1816942" y="82610"/>
                </a:cubicBezTo>
                <a:cubicBezTo>
                  <a:pt x="1833015" y="107018"/>
                  <a:pt x="1846410" y="131426"/>
                  <a:pt x="1852103" y="175925"/>
                </a:cubicBezTo>
                <a:lnTo>
                  <a:pt x="1854048" y="210300"/>
                </a:lnTo>
                <a:lnTo>
                  <a:pt x="1854048" y="3846889"/>
                </a:lnTo>
                <a:lnTo>
                  <a:pt x="1845815" y="3894099"/>
                </a:lnTo>
                <a:cubicBezTo>
                  <a:pt x="1836787" y="3926147"/>
                  <a:pt x="1823293" y="3947379"/>
                  <a:pt x="1807418" y="3964048"/>
                </a:cubicBezTo>
                <a:cubicBezTo>
                  <a:pt x="1775668" y="3997386"/>
                  <a:pt x="1715342" y="4031517"/>
                  <a:pt x="1595486" y="4030722"/>
                </a:cubicBezTo>
                <a:cubicBezTo>
                  <a:pt x="1145429" y="4030722"/>
                  <a:pt x="355250" y="4031912"/>
                  <a:pt x="245316" y="4030723"/>
                </a:cubicBezTo>
                <a:cubicBezTo>
                  <a:pt x="135382" y="4029534"/>
                  <a:pt x="90933" y="4007308"/>
                  <a:pt x="50055" y="3966430"/>
                </a:cubicBezTo>
                <a:cubicBezTo>
                  <a:pt x="9177" y="3925552"/>
                  <a:pt x="1635" y="3884276"/>
                  <a:pt x="48" y="3785454"/>
                </a:cubicBezTo>
                <a:lnTo>
                  <a:pt x="48" y="251679"/>
                </a:lnTo>
                <a:cubicBezTo>
                  <a:pt x="-1143" y="128646"/>
                  <a:pt x="19894" y="96103"/>
                  <a:pt x="47675" y="61178"/>
                </a:cubicBezTo>
                <a:cubicBezTo>
                  <a:pt x="68511" y="34984"/>
                  <a:pt x="92918" y="20623"/>
                  <a:pt x="127930" y="9555"/>
                </a:cubicBezTo>
                <a:close/>
              </a:path>
            </a:pathLst>
          </a:custGeom>
          <a:ln w="3175">
            <a:noFill/>
          </a:ln>
        </p:spPr>
        <p:txBody>
          <a:bodyPr wrap="square" tIns="180000" rIns="0">
            <a:noAutofit/>
          </a:bodyPr>
          <a:lstStyle>
            <a:lvl1pPr algn="ctr">
              <a:spcBef>
                <a:spcPts val="0"/>
              </a:spcBef>
              <a:buFontTx/>
              <a:buNone/>
              <a:defRPr>
                <a:solidFill>
                  <a:schemeClr val="accent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Obr</a:t>
            </a:r>
          </a:p>
        </p:txBody>
      </p:sp>
      <p:pic>
        <p:nvPicPr>
          <p:cNvPr id="5" name="Picture 4" descr="Picture placeholder on NTB">
            <a:extLst>
              <a:ext uri="{FF2B5EF4-FFF2-40B4-BE49-F238E27FC236}">
                <a16:creationId xmlns:a16="http://schemas.microsoft.com/office/drawing/2014/main" id="{83BDD9CF-7056-D14F-6C98-08383FBD25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855" t="11185" r="2782" b="13217"/>
          <a:stretch/>
        </p:blipFill>
        <p:spPr>
          <a:xfrm>
            <a:off x="5288606" y="1778076"/>
            <a:ext cx="5079632" cy="3008958"/>
          </a:xfrm>
          <a:prstGeom prst="rect">
            <a:avLst/>
          </a:prstGeom>
        </p:spPr>
      </p:pic>
      <p:sp>
        <p:nvSpPr>
          <p:cNvPr id="8" name="Zástupný symbol pro obrázek 10">
            <a:extLst>
              <a:ext uri="{FF2B5EF4-FFF2-40B4-BE49-F238E27FC236}">
                <a16:creationId xmlns:a16="http://schemas.microsoft.com/office/drawing/2014/main" id="{D15D8CFF-B991-6428-A03C-ED319344C3E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928544" y="1998378"/>
            <a:ext cx="3801600" cy="2381722"/>
          </a:xfrm>
        </p:spPr>
        <p:txBody>
          <a:bodyPr/>
          <a:lstStyle>
            <a:lvl1pPr algn="ctr">
              <a:buFontTx/>
              <a:buNone/>
              <a:defRPr>
                <a:solidFill>
                  <a:schemeClr val="accent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Obr</a:t>
            </a:r>
          </a:p>
        </p:txBody>
      </p:sp>
      <p:sp>
        <p:nvSpPr>
          <p:cNvPr id="13" name="Zástupný symbol pro obrázek 10">
            <a:extLst>
              <a:ext uri="{FF2B5EF4-FFF2-40B4-BE49-F238E27FC236}">
                <a16:creationId xmlns:a16="http://schemas.microsoft.com/office/drawing/2014/main" id="{8DB6E6F3-896A-1761-57EA-93B2D9BFC65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04433" y="2467446"/>
            <a:ext cx="2653200" cy="1854000"/>
          </a:xfrm>
          <a:prstGeom prst="roundRect">
            <a:avLst>
              <a:gd name="adj" fmla="val 2124"/>
            </a:avLst>
          </a:prstGeom>
        </p:spPr>
        <p:txBody>
          <a:bodyPr/>
          <a:lstStyle>
            <a:lvl1pPr algn="ctr">
              <a:buFontTx/>
              <a:buNone/>
              <a:defRPr>
                <a:solidFill>
                  <a:schemeClr val="accent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Obr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8D6BEC5B-BD30-950B-5B02-B20EBD2C6B5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06843" y="4321446"/>
            <a:ext cx="540000" cy="920700"/>
          </a:xfrm>
          <a:prstGeom prst="rect">
            <a:avLst/>
          </a:prstGeom>
        </p:spPr>
      </p:pic>
      <p:sp>
        <p:nvSpPr>
          <p:cNvPr id="20" name="Zástupný symbol pro obrázek 10">
            <a:extLst>
              <a:ext uri="{FF2B5EF4-FFF2-40B4-BE49-F238E27FC236}">
                <a16:creationId xmlns:a16="http://schemas.microsoft.com/office/drawing/2014/main" id="{24F28A04-BA62-6179-A6A4-4EE5267D30D4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4062413" y="4536280"/>
            <a:ext cx="406800" cy="489600"/>
          </a:xfrm>
          <a:prstGeom prst="roundRect">
            <a:avLst>
              <a:gd name="adj" fmla="val 17343"/>
            </a:avLst>
          </a:prstGeom>
        </p:spPr>
        <p:txBody>
          <a:bodyPr/>
          <a:lstStyle>
            <a:lvl1pPr algn="ctr">
              <a:buFontTx/>
              <a:buNone/>
              <a:defRPr>
                <a:solidFill>
                  <a:schemeClr val="accent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Obr</a:t>
            </a:r>
          </a:p>
        </p:txBody>
      </p:sp>
    </p:spTree>
    <p:extLst>
      <p:ext uri="{BB962C8B-B14F-4D97-AF65-F5344CB8AC3E}">
        <p14:creationId xmlns:p14="http://schemas.microsoft.com/office/powerpoint/2010/main" val="43765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 userDrawn="1">
            <p:ph idx="1" hasCustomPrompt="1"/>
          </p:nvPr>
        </p:nvSpPr>
        <p:spPr>
          <a:xfrm>
            <a:off x="449263" y="1314450"/>
            <a:ext cx="9793287" cy="4032250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  <a:lvl6pPr marL="900000" indent="0">
              <a:buNone/>
              <a:defRPr/>
            </a:lvl6pPr>
          </a:lstStyle>
          <a:p>
            <a:pPr lvl="0"/>
            <a:r>
              <a:rPr lang="cs-CZ" noProof="0"/>
              <a:t>První úroveň</a:t>
            </a:r>
          </a:p>
          <a:p>
            <a:pPr lvl="1"/>
            <a:r>
              <a:rPr lang="cs-CZ" noProof="0"/>
              <a:t>Druhá úroveň</a:t>
            </a:r>
          </a:p>
          <a:p>
            <a:pPr lvl="2"/>
            <a:r>
              <a:rPr lang="cs-CZ" noProof="0"/>
              <a:t>Třetí úroveň</a:t>
            </a:r>
          </a:p>
          <a:p>
            <a:pPr lvl="3"/>
            <a:r>
              <a:rPr lang="cs-CZ" noProof="0"/>
              <a:t>Čtvrtá úroveň</a:t>
            </a:r>
          </a:p>
          <a:p>
            <a:pPr lvl="4"/>
            <a:r>
              <a:rPr lang="cs-CZ" noProof="0"/>
              <a:t>Pátá úroveň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 userDrawn="1"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8" name="Zástupný symbol pro zápatí 7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| 08.11. 2023 | Odborná praxe | GQD-1 | Ondřej Hlaváček</a:t>
            </a:r>
          </a:p>
        </p:txBody>
      </p:sp>
      <p:sp>
        <p:nvSpPr>
          <p:cNvPr id="29" name="Zástupný symbol pro text 28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449263" y="649287"/>
            <a:ext cx="9793288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 userDrawn="1">
            <p:ph type="title" hasCustomPrompt="1"/>
          </p:nvPr>
        </p:nvSpPr>
        <p:spPr>
          <a:xfrm>
            <a:off x="449263" y="269875"/>
            <a:ext cx="9793287" cy="360000"/>
          </a:xfrm>
        </p:spPr>
        <p:txBody>
          <a:bodyPr/>
          <a:lstStyle>
            <a:lvl1pPr>
              <a:defRPr/>
            </a:lvl1pPr>
          </a:lstStyle>
          <a:p>
            <a:r>
              <a:rPr lang="cs-CZ" noProof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964541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449263" y="1314450"/>
            <a:ext cx="4824412" cy="4032250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/>
              <a:t>První úroveň</a:t>
            </a:r>
          </a:p>
          <a:p>
            <a:pPr lvl="1"/>
            <a:r>
              <a:rPr lang="cs-CZ" noProof="0"/>
              <a:t>Druhá úroveň</a:t>
            </a:r>
          </a:p>
          <a:p>
            <a:pPr lvl="2"/>
            <a:r>
              <a:rPr lang="cs-CZ" noProof="0"/>
              <a:t>Třetí úroveň</a:t>
            </a:r>
          </a:p>
          <a:p>
            <a:pPr lvl="3"/>
            <a:r>
              <a:rPr lang="cs-CZ" noProof="0"/>
              <a:t>Čtvrtá úroveň</a:t>
            </a:r>
          </a:p>
          <a:p>
            <a:pPr lvl="4"/>
            <a:r>
              <a:rPr lang="cs-CZ" noProof="0"/>
              <a:t>Pátá úroveň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| 08.11. 2023 | Odborná praxe | GQD-1 | Ondřej Hlaváček</a:t>
            </a:r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648000"/>
            <a:ext cx="9793288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/>
              <a:t>Nadpis (shrnutí stránky)</a:t>
            </a:r>
          </a:p>
        </p:txBody>
      </p:sp>
      <p:sp>
        <p:nvSpPr>
          <p:cNvPr id="9" name="Zástupný symbol pro obsah 2"/>
          <p:cNvSpPr>
            <a:spLocks noGrp="1"/>
          </p:cNvSpPr>
          <p:nvPr>
            <p:ph idx="13" hasCustomPrompt="1"/>
          </p:nvPr>
        </p:nvSpPr>
        <p:spPr>
          <a:xfrm>
            <a:off x="5418139" y="1314450"/>
            <a:ext cx="4824411" cy="4032250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/>
              <a:t>První úroveň</a:t>
            </a:r>
          </a:p>
          <a:p>
            <a:pPr lvl="1"/>
            <a:r>
              <a:rPr lang="cs-CZ" noProof="0"/>
              <a:t>Druhá úroveň</a:t>
            </a:r>
          </a:p>
          <a:p>
            <a:pPr lvl="2"/>
            <a:r>
              <a:rPr lang="cs-CZ" noProof="0"/>
              <a:t>Třetí úroveň</a:t>
            </a:r>
          </a:p>
          <a:p>
            <a:pPr lvl="3"/>
            <a:r>
              <a:rPr lang="cs-CZ" noProof="0"/>
              <a:t>Čtvrtá úroveň</a:t>
            </a:r>
          </a:p>
          <a:p>
            <a:pPr lvl="4"/>
            <a:r>
              <a:rPr lang="cs-CZ" noProof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470826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449261" y="1314450"/>
            <a:ext cx="3168651" cy="4032250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/>
              <a:t>První úroveň</a:t>
            </a:r>
          </a:p>
          <a:p>
            <a:pPr lvl="1"/>
            <a:r>
              <a:rPr lang="cs-CZ" noProof="0"/>
              <a:t>Druhá úroveň</a:t>
            </a:r>
          </a:p>
          <a:p>
            <a:pPr lvl="2"/>
            <a:r>
              <a:rPr lang="cs-CZ" noProof="0"/>
              <a:t>Třetí úroveň</a:t>
            </a:r>
          </a:p>
          <a:p>
            <a:pPr lvl="3"/>
            <a:r>
              <a:rPr lang="cs-CZ" noProof="0"/>
              <a:t>Čtvrtá úroveň</a:t>
            </a:r>
          </a:p>
          <a:p>
            <a:pPr lvl="4"/>
            <a:r>
              <a:rPr lang="cs-CZ" noProof="0"/>
              <a:t>Pátá úroveň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| 08.11. 2023 | Odborná praxe | GQD-1 | Ondřej Hlaváček</a:t>
            </a:r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648000"/>
            <a:ext cx="9793287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/>
              <a:t>Nadpis (shrnutí stránky)</a:t>
            </a:r>
          </a:p>
        </p:txBody>
      </p:sp>
      <p:sp>
        <p:nvSpPr>
          <p:cNvPr id="10" name="Zástupný symbol pro obsah 2"/>
          <p:cNvSpPr>
            <a:spLocks noGrp="1"/>
          </p:cNvSpPr>
          <p:nvPr>
            <p:ph idx="13" hasCustomPrompt="1"/>
          </p:nvPr>
        </p:nvSpPr>
        <p:spPr>
          <a:xfrm>
            <a:off x="3762375" y="1314450"/>
            <a:ext cx="3167063" cy="4032250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/>
              <a:t>První úroveň</a:t>
            </a:r>
          </a:p>
          <a:p>
            <a:pPr lvl="1"/>
            <a:r>
              <a:rPr lang="cs-CZ" noProof="0"/>
              <a:t>Druhá úroveň</a:t>
            </a:r>
          </a:p>
          <a:p>
            <a:pPr lvl="2"/>
            <a:r>
              <a:rPr lang="cs-CZ" noProof="0"/>
              <a:t>Třetí úroveň</a:t>
            </a:r>
          </a:p>
          <a:p>
            <a:pPr lvl="3"/>
            <a:r>
              <a:rPr lang="cs-CZ" noProof="0"/>
              <a:t>Čtvrtá úroveň</a:t>
            </a:r>
          </a:p>
          <a:p>
            <a:pPr lvl="4"/>
            <a:r>
              <a:rPr lang="cs-CZ" noProof="0"/>
              <a:t>Pátá úroveň</a:t>
            </a:r>
          </a:p>
        </p:txBody>
      </p:sp>
      <p:sp>
        <p:nvSpPr>
          <p:cNvPr id="11" name="Zástupný symbol pro obsah 2"/>
          <p:cNvSpPr>
            <a:spLocks noGrp="1"/>
          </p:cNvSpPr>
          <p:nvPr>
            <p:ph idx="14" hasCustomPrompt="1"/>
          </p:nvPr>
        </p:nvSpPr>
        <p:spPr>
          <a:xfrm>
            <a:off x="7073900" y="1314450"/>
            <a:ext cx="3168650" cy="4032250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/>
              <a:t>První úroveň</a:t>
            </a:r>
          </a:p>
          <a:p>
            <a:pPr lvl="1"/>
            <a:r>
              <a:rPr lang="cs-CZ" noProof="0"/>
              <a:t>Druhá úroveň</a:t>
            </a:r>
          </a:p>
          <a:p>
            <a:pPr lvl="2"/>
            <a:r>
              <a:rPr lang="cs-CZ" noProof="0"/>
              <a:t>Třetí úroveň</a:t>
            </a:r>
          </a:p>
          <a:p>
            <a:pPr lvl="3"/>
            <a:r>
              <a:rPr lang="cs-CZ" noProof="0"/>
              <a:t>Čtvrtá úroveň</a:t>
            </a:r>
          </a:p>
          <a:p>
            <a:pPr lvl="4"/>
            <a:r>
              <a:rPr lang="cs-CZ" noProof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337353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ADB3A0F4-8FD1-BB33-A8B9-BD088CAF92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39693" y="5657211"/>
            <a:ext cx="1002857" cy="108000"/>
          </a:xfrm>
          <a:prstGeom prst="rect">
            <a:avLst/>
          </a:prstGeom>
        </p:spPr>
      </p:pic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802F308-AC92-5DF3-874F-EFBBB2062E7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418138" y="0"/>
            <a:ext cx="5273675" cy="6011863"/>
          </a:xfrm>
          <a:custGeom>
            <a:avLst/>
            <a:gdLst>
              <a:gd name="connsiteX0" fmla="*/ 4487654 w 5273675"/>
              <a:gd name="connsiteY0" fmla="*/ 5682866 h 6011863"/>
              <a:gd name="connsiteX1" fmla="*/ 4551760 w 5273675"/>
              <a:gd name="connsiteY1" fmla="*/ 5682866 h 6011863"/>
              <a:gd name="connsiteX2" fmla="*/ 4569114 w 5273675"/>
              <a:gd name="connsiteY2" fmla="*/ 5699607 h 6011863"/>
              <a:gd name="connsiteX3" fmla="*/ 4569114 w 5273675"/>
              <a:gd name="connsiteY3" fmla="*/ 5727577 h 6011863"/>
              <a:gd name="connsiteX4" fmla="*/ 4551760 w 5273675"/>
              <a:gd name="connsiteY4" fmla="*/ 5744318 h 6011863"/>
              <a:gd name="connsiteX5" fmla="*/ 4487654 w 5273675"/>
              <a:gd name="connsiteY5" fmla="*/ 5744318 h 6011863"/>
              <a:gd name="connsiteX6" fmla="*/ 4272791 w 5273675"/>
              <a:gd name="connsiteY6" fmla="*/ 5682866 h 6011863"/>
              <a:gd name="connsiteX7" fmla="*/ 4326893 w 5273675"/>
              <a:gd name="connsiteY7" fmla="*/ 5682866 h 6011863"/>
              <a:gd name="connsiteX8" fmla="*/ 4343022 w 5273675"/>
              <a:gd name="connsiteY8" fmla="*/ 5698586 h 6011863"/>
              <a:gd name="connsiteX9" fmla="*/ 4343022 w 5273675"/>
              <a:gd name="connsiteY9" fmla="*/ 5728598 h 6011863"/>
              <a:gd name="connsiteX10" fmla="*/ 4326893 w 5273675"/>
              <a:gd name="connsiteY10" fmla="*/ 5744318 h 6011863"/>
              <a:gd name="connsiteX11" fmla="*/ 4272791 w 5273675"/>
              <a:gd name="connsiteY11" fmla="*/ 5744318 h 6011863"/>
              <a:gd name="connsiteX12" fmla="*/ 4256662 w 5273675"/>
              <a:gd name="connsiteY12" fmla="*/ 5728598 h 6011863"/>
              <a:gd name="connsiteX13" fmla="*/ 4256662 w 5273675"/>
              <a:gd name="connsiteY13" fmla="*/ 5698586 h 6011863"/>
              <a:gd name="connsiteX14" fmla="*/ 4272791 w 5273675"/>
              <a:gd name="connsiteY14" fmla="*/ 5682866 h 6011863"/>
              <a:gd name="connsiteX15" fmla="*/ 4745604 w 5273675"/>
              <a:gd name="connsiteY15" fmla="*/ 5679803 h 6011863"/>
              <a:gd name="connsiteX16" fmla="*/ 4771539 w 5273675"/>
              <a:gd name="connsiteY16" fmla="*/ 5725739 h 6011863"/>
              <a:gd name="connsiteX17" fmla="*/ 4719676 w 5273675"/>
              <a:gd name="connsiteY17" fmla="*/ 5725739 h 6011863"/>
              <a:gd name="connsiteX18" fmla="*/ 4728046 w 5273675"/>
              <a:gd name="connsiteY18" fmla="*/ 5659592 h 6011863"/>
              <a:gd name="connsiteX19" fmla="*/ 4667412 w 5273675"/>
              <a:gd name="connsiteY19" fmla="*/ 5767592 h 6011863"/>
              <a:gd name="connsiteX20" fmla="*/ 4696202 w 5273675"/>
              <a:gd name="connsiteY20" fmla="*/ 5767592 h 6011863"/>
              <a:gd name="connsiteX21" fmla="*/ 4719067 w 5273675"/>
              <a:gd name="connsiteY21" fmla="*/ 5726964 h 6011863"/>
              <a:gd name="connsiteX22" fmla="*/ 4732952 w 5273675"/>
              <a:gd name="connsiteY22" fmla="*/ 5749014 h 6011863"/>
              <a:gd name="connsiteX23" fmla="*/ 4784600 w 5273675"/>
              <a:gd name="connsiteY23" fmla="*/ 5749014 h 6011863"/>
              <a:gd name="connsiteX24" fmla="*/ 4795014 w 5273675"/>
              <a:gd name="connsiteY24" fmla="*/ 5767592 h 6011863"/>
              <a:gd name="connsiteX25" fmla="*/ 4824413 w 5273675"/>
              <a:gd name="connsiteY25" fmla="*/ 5767592 h 6011863"/>
              <a:gd name="connsiteX26" fmla="*/ 4763779 w 5273675"/>
              <a:gd name="connsiteY26" fmla="*/ 5659592 h 6011863"/>
              <a:gd name="connsiteX27" fmla="*/ 4461930 w 5273675"/>
              <a:gd name="connsiteY27" fmla="*/ 5659592 h 6011863"/>
              <a:gd name="connsiteX28" fmla="*/ 4461930 w 5273675"/>
              <a:gd name="connsiteY28" fmla="*/ 5767592 h 6011863"/>
              <a:gd name="connsiteX29" fmla="*/ 4552373 w 5273675"/>
              <a:gd name="connsiteY29" fmla="*/ 5767592 h 6011863"/>
              <a:gd name="connsiteX30" fmla="*/ 4594836 w 5273675"/>
              <a:gd name="connsiteY30" fmla="*/ 5726352 h 6011863"/>
              <a:gd name="connsiteX31" fmla="*/ 4594836 w 5273675"/>
              <a:gd name="connsiteY31" fmla="*/ 5700832 h 6011863"/>
              <a:gd name="connsiteX32" fmla="*/ 4552373 w 5273675"/>
              <a:gd name="connsiteY32" fmla="*/ 5659592 h 6011863"/>
              <a:gd name="connsiteX33" fmla="*/ 4272178 w 5273675"/>
              <a:gd name="connsiteY33" fmla="*/ 5659592 h 6011863"/>
              <a:gd name="connsiteX34" fmla="*/ 4230938 w 5273675"/>
              <a:gd name="connsiteY34" fmla="*/ 5699811 h 6011863"/>
              <a:gd name="connsiteX35" fmla="*/ 4230938 w 5273675"/>
              <a:gd name="connsiteY35" fmla="*/ 5727373 h 6011863"/>
              <a:gd name="connsiteX36" fmla="*/ 4272178 w 5273675"/>
              <a:gd name="connsiteY36" fmla="*/ 5767592 h 6011863"/>
              <a:gd name="connsiteX37" fmla="*/ 4327505 w 5273675"/>
              <a:gd name="connsiteY37" fmla="*/ 5767592 h 6011863"/>
              <a:gd name="connsiteX38" fmla="*/ 4368746 w 5273675"/>
              <a:gd name="connsiteY38" fmla="*/ 5727373 h 6011863"/>
              <a:gd name="connsiteX39" fmla="*/ 4368746 w 5273675"/>
              <a:gd name="connsiteY39" fmla="*/ 5699811 h 6011863"/>
              <a:gd name="connsiteX40" fmla="*/ 4327505 w 5273675"/>
              <a:gd name="connsiteY40" fmla="*/ 5659592 h 6011863"/>
              <a:gd name="connsiteX41" fmla="*/ 4029150 w 5273675"/>
              <a:gd name="connsiteY41" fmla="*/ 5659592 h 6011863"/>
              <a:gd name="connsiteX42" fmla="*/ 4029150 w 5273675"/>
              <a:gd name="connsiteY42" fmla="*/ 5767592 h 6011863"/>
              <a:gd name="connsiteX43" fmla="*/ 4054875 w 5273675"/>
              <a:gd name="connsiteY43" fmla="*/ 5767592 h 6011863"/>
              <a:gd name="connsiteX44" fmla="*/ 4054875 w 5273675"/>
              <a:gd name="connsiteY44" fmla="*/ 5724923 h 6011863"/>
              <a:gd name="connsiteX45" fmla="*/ 4087949 w 5273675"/>
              <a:gd name="connsiteY45" fmla="*/ 5724923 h 6011863"/>
              <a:gd name="connsiteX46" fmla="*/ 4132251 w 5273675"/>
              <a:gd name="connsiteY46" fmla="*/ 5767592 h 6011863"/>
              <a:gd name="connsiteX47" fmla="*/ 4168387 w 5273675"/>
              <a:gd name="connsiteY47" fmla="*/ 5767592 h 6011863"/>
              <a:gd name="connsiteX48" fmla="*/ 4111018 w 5273675"/>
              <a:gd name="connsiteY48" fmla="*/ 5713286 h 6011863"/>
              <a:gd name="connsiteX49" fmla="*/ 4167367 w 5273675"/>
              <a:gd name="connsiteY49" fmla="*/ 5659592 h 6011863"/>
              <a:gd name="connsiteX50" fmla="*/ 4133272 w 5273675"/>
              <a:gd name="connsiteY50" fmla="*/ 5659592 h 6011863"/>
              <a:gd name="connsiteX51" fmla="*/ 4088969 w 5273675"/>
              <a:gd name="connsiteY51" fmla="*/ 5701649 h 6011863"/>
              <a:gd name="connsiteX52" fmla="*/ 4054875 w 5273675"/>
              <a:gd name="connsiteY52" fmla="*/ 5701649 h 6011863"/>
              <a:gd name="connsiteX53" fmla="*/ 4054875 w 5273675"/>
              <a:gd name="connsiteY53" fmla="*/ 5659592 h 6011863"/>
              <a:gd name="connsiteX54" fmla="*/ 3860550 w 5273675"/>
              <a:gd name="connsiteY54" fmla="*/ 5659592 h 6011863"/>
              <a:gd name="connsiteX55" fmla="*/ 3875250 w 5273675"/>
              <a:gd name="connsiteY55" fmla="*/ 5682049 h 6011863"/>
              <a:gd name="connsiteX56" fmla="*/ 3935069 w 5273675"/>
              <a:gd name="connsiteY56" fmla="*/ 5682049 h 6011863"/>
              <a:gd name="connsiteX57" fmla="*/ 3949360 w 5273675"/>
              <a:gd name="connsiteY57" fmla="*/ 5659592 h 6011863"/>
              <a:gd name="connsiteX58" fmla="*/ 3848301 w 5273675"/>
              <a:gd name="connsiteY58" fmla="*/ 5659592 h 6011863"/>
              <a:gd name="connsiteX59" fmla="*/ 3824619 w 5273675"/>
              <a:gd name="connsiteY59" fmla="*/ 5684499 h 6011863"/>
              <a:gd name="connsiteX60" fmla="*/ 3824619 w 5273675"/>
              <a:gd name="connsiteY60" fmla="*/ 5693482 h 6011863"/>
              <a:gd name="connsiteX61" fmla="*/ 3855242 w 5273675"/>
              <a:gd name="connsiteY61" fmla="*/ 5723698 h 6011863"/>
              <a:gd name="connsiteX62" fmla="*/ 3926494 w 5273675"/>
              <a:gd name="connsiteY62" fmla="*/ 5723698 h 6011863"/>
              <a:gd name="connsiteX63" fmla="*/ 3926494 w 5273675"/>
              <a:gd name="connsiteY63" fmla="*/ 5736968 h 6011863"/>
              <a:gd name="connsiteX64" fmla="*/ 3918736 w 5273675"/>
              <a:gd name="connsiteY64" fmla="*/ 5744726 h 6011863"/>
              <a:gd name="connsiteX65" fmla="*/ 3835847 w 5273675"/>
              <a:gd name="connsiteY65" fmla="*/ 5744726 h 6011863"/>
              <a:gd name="connsiteX66" fmla="*/ 3821556 w 5273675"/>
              <a:gd name="connsiteY66" fmla="*/ 5767592 h 6011863"/>
              <a:gd name="connsiteX67" fmla="*/ 3921186 w 5273675"/>
              <a:gd name="connsiteY67" fmla="*/ 5767592 h 6011863"/>
              <a:gd name="connsiteX68" fmla="*/ 3951810 w 5273675"/>
              <a:gd name="connsiteY68" fmla="*/ 5737377 h 6011863"/>
              <a:gd name="connsiteX69" fmla="*/ 3951810 w 5273675"/>
              <a:gd name="connsiteY69" fmla="*/ 5725535 h 6011863"/>
              <a:gd name="connsiteX70" fmla="*/ 3926698 w 5273675"/>
              <a:gd name="connsiteY70" fmla="*/ 5700832 h 6011863"/>
              <a:gd name="connsiteX71" fmla="*/ 3857692 w 5273675"/>
              <a:gd name="connsiteY71" fmla="*/ 5700832 h 6011863"/>
              <a:gd name="connsiteX72" fmla="*/ 3849934 w 5273675"/>
              <a:gd name="connsiteY72" fmla="*/ 5693074 h 6011863"/>
              <a:gd name="connsiteX73" fmla="*/ 3849934 w 5273675"/>
              <a:gd name="connsiteY73" fmla="*/ 5659592 h 6011863"/>
              <a:gd name="connsiteX74" fmla="*/ 0 w 5273675"/>
              <a:gd name="connsiteY74" fmla="*/ 0 h 6011863"/>
              <a:gd name="connsiteX75" fmla="*/ 5273675 w 5273675"/>
              <a:gd name="connsiteY75" fmla="*/ 0 h 6011863"/>
              <a:gd name="connsiteX76" fmla="*/ 5273675 w 5273675"/>
              <a:gd name="connsiteY76" fmla="*/ 6011863 h 6011863"/>
              <a:gd name="connsiteX77" fmla="*/ 0 w 5273675"/>
              <a:gd name="connsiteY77" fmla="*/ 6011863 h 6011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</a:cxnLst>
            <a:rect l="l" t="t" r="r" b="b"/>
            <a:pathLst>
              <a:path w="5273675" h="6011863">
                <a:moveTo>
                  <a:pt x="4487654" y="5682866"/>
                </a:moveTo>
                <a:lnTo>
                  <a:pt x="4551760" y="5682866"/>
                </a:lnTo>
                <a:cubicBezTo>
                  <a:pt x="4562377" y="5682866"/>
                  <a:pt x="4569114" y="5689399"/>
                  <a:pt x="4569114" y="5699607"/>
                </a:cubicBezTo>
                <a:lnTo>
                  <a:pt x="4569114" y="5727577"/>
                </a:lnTo>
                <a:cubicBezTo>
                  <a:pt x="4569114" y="5737785"/>
                  <a:pt x="4562377" y="5744318"/>
                  <a:pt x="4551760" y="5744318"/>
                </a:cubicBezTo>
                <a:lnTo>
                  <a:pt x="4487654" y="5744318"/>
                </a:lnTo>
                <a:close/>
                <a:moveTo>
                  <a:pt x="4272791" y="5682866"/>
                </a:moveTo>
                <a:lnTo>
                  <a:pt x="4326893" y="5682866"/>
                </a:lnTo>
                <a:cubicBezTo>
                  <a:pt x="4336692" y="5682866"/>
                  <a:pt x="4343022" y="5688991"/>
                  <a:pt x="4343022" y="5698586"/>
                </a:cubicBezTo>
                <a:lnTo>
                  <a:pt x="4343022" y="5728598"/>
                </a:lnTo>
                <a:cubicBezTo>
                  <a:pt x="4343022" y="5738194"/>
                  <a:pt x="4336692" y="5744318"/>
                  <a:pt x="4326893" y="5744318"/>
                </a:cubicBezTo>
                <a:lnTo>
                  <a:pt x="4272791" y="5744318"/>
                </a:lnTo>
                <a:cubicBezTo>
                  <a:pt x="4262991" y="5744318"/>
                  <a:pt x="4256662" y="5738193"/>
                  <a:pt x="4256662" y="5728598"/>
                </a:cubicBezTo>
                <a:lnTo>
                  <a:pt x="4256662" y="5698586"/>
                </a:lnTo>
                <a:cubicBezTo>
                  <a:pt x="4256662" y="5688991"/>
                  <a:pt x="4262991" y="5682866"/>
                  <a:pt x="4272791" y="5682866"/>
                </a:cubicBezTo>
                <a:close/>
                <a:moveTo>
                  <a:pt x="4745604" y="5679803"/>
                </a:moveTo>
                <a:lnTo>
                  <a:pt x="4771539" y="5725739"/>
                </a:lnTo>
                <a:lnTo>
                  <a:pt x="4719676" y="5725739"/>
                </a:lnTo>
                <a:close/>
                <a:moveTo>
                  <a:pt x="4728046" y="5659592"/>
                </a:moveTo>
                <a:lnTo>
                  <a:pt x="4667412" y="5767592"/>
                </a:lnTo>
                <a:lnTo>
                  <a:pt x="4696202" y="5767592"/>
                </a:lnTo>
                <a:lnTo>
                  <a:pt x="4719067" y="5726964"/>
                </a:lnTo>
                <a:lnTo>
                  <a:pt x="4732952" y="5749014"/>
                </a:lnTo>
                <a:lnTo>
                  <a:pt x="4784600" y="5749014"/>
                </a:lnTo>
                <a:lnTo>
                  <a:pt x="4795014" y="5767592"/>
                </a:lnTo>
                <a:lnTo>
                  <a:pt x="4824413" y="5767592"/>
                </a:lnTo>
                <a:lnTo>
                  <a:pt x="4763779" y="5659592"/>
                </a:lnTo>
                <a:close/>
                <a:moveTo>
                  <a:pt x="4461930" y="5659592"/>
                </a:moveTo>
                <a:lnTo>
                  <a:pt x="4461930" y="5767592"/>
                </a:lnTo>
                <a:lnTo>
                  <a:pt x="4552373" y="5767592"/>
                </a:lnTo>
                <a:cubicBezTo>
                  <a:pt x="4579322" y="5767592"/>
                  <a:pt x="4594836" y="5752076"/>
                  <a:pt x="4594836" y="5726352"/>
                </a:cubicBezTo>
                <a:lnTo>
                  <a:pt x="4594836" y="5700832"/>
                </a:lnTo>
                <a:cubicBezTo>
                  <a:pt x="4594836" y="5675108"/>
                  <a:pt x="4579322" y="5659592"/>
                  <a:pt x="4552373" y="5659592"/>
                </a:cubicBezTo>
                <a:close/>
                <a:moveTo>
                  <a:pt x="4272178" y="5659592"/>
                </a:moveTo>
                <a:cubicBezTo>
                  <a:pt x="4246045" y="5659592"/>
                  <a:pt x="4230938" y="5674700"/>
                  <a:pt x="4230938" y="5699811"/>
                </a:cubicBezTo>
                <a:lnTo>
                  <a:pt x="4230938" y="5727373"/>
                </a:lnTo>
                <a:cubicBezTo>
                  <a:pt x="4230938" y="5752484"/>
                  <a:pt x="4246046" y="5767592"/>
                  <a:pt x="4272178" y="5767592"/>
                </a:cubicBezTo>
                <a:lnTo>
                  <a:pt x="4327505" y="5767592"/>
                </a:lnTo>
                <a:cubicBezTo>
                  <a:pt x="4353638" y="5767592"/>
                  <a:pt x="4368746" y="5752484"/>
                  <a:pt x="4368746" y="5727373"/>
                </a:cubicBezTo>
                <a:lnTo>
                  <a:pt x="4368746" y="5699811"/>
                </a:lnTo>
                <a:cubicBezTo>
                  <a:pt x="4368746" y="5674700"/>
                  <a:pt x="4353637" y="5659592"/>
                  <a:pt x="4327505" y="5659592"/>
                </a:cubicBezTo>
                <a:close/>
                <a:moveTo>
                  <a:pt x="4029150" y="5659592"/>
                </a:moveTo>
                <a:lnTo>
                  <a:pt x="4029150" y="5767592"/>
                </a:lnTo>
                <a:lnTo>
                  <a:pt x="4054875" y="5767592"/>
                </a:lnTo>
                <a:lnTo>
                  <a:pt x="4054875" y="5724923"/>
                </a:lnTo>
                <a:lnTo>
                  <a:pt x="4087949" y="5724923"/>
                </a:lnTo>
                <a:lnTo>
                  <a:pt x="4132251" y="5767592"/>
                </a:lnTo>
                <a:lnTo>
                  <a:pt x="4168387" y="5767592"/>
                </a:lnTo>
                <a:lnTo>
                  <a:pt x="4111018" y="5713286"/>
                </a:lnTo>
                <a:lnTo>
                  <a:pt x="4167367" y="5659592"/>
                </a:lnTo>
                <a:lnTo>
                  <a:pt x="4133272" y="5659592"/>
                </a:lnTo>
                <a:lnTo>
                  <a:pt x="4088969" y="5701649"/>
                </a:lnTo>
                <a:lnTo>
                  <a:pt x="4054875" y="5701649"/>
                </a:lnTo>
                <a:lnTo>
                  <a:pt x="4054875" y="5659592"/>
                </a:lnTo>
                <a:close/>
                <a:moveTo>
                  <a:pt x="3860550" y="5659592"/>
                </a:moveTo>
                <a:lnTo>
                  <a:pt x="3875250" y="5682049"/>
                </a:lnTo>
                <a:lnTo>
                  <a:pt x="3935069" y="5682049"/>
                </a:lnTo>
                <a:lnTo>
                  <a:pt x="3949360" y="5659592"/>
                </a:lnTo>
                <a:close/>
                <a:moveTo>
                  <a:pt x="3848301" y="5659592"/>
                </a:moveTo>
                <a:cubicBezTo>
                  <a:pt x="3833806" y="5659592"/>
                  <a:pt x="3824619" y="5668983"/>
                  <a:pt x="3824619" y="5684499"/>
                </a:cubicBezTo>
                <a:lnTo>
                  <a:pt x="3824619" y="5693482"/>
                </a:lnTo>
                <a:cubicBezTo>
                  <a:pt x="3824619" y="5714307"/>
                  <a:pt x="3834010" y="5723698"/>
                  <a:pt x="3855242" y="5723698"/>
                </a:cubicBezTo>
                <a:lnTo>
                  <a:pt x="3926494" y="5723698"/>
                </a:lnTo>
                <a:lnTo>
                  <a:pt x="3926494" y="5736968"/>
                </a:lnTo>
                <a:cubicBezTo>
                  <a:pt x="3926494" y="5741664"/>
                  <a:pt x="3923432" y="5744726"/>
                  <a:pt x="3918736" y="5744726"/>
                </a:cubicBezTo>
                <a:lnTo>
                  <a:pt x="3835847" y="5744726"/>
                </a:lnTo>
                <a:lnTo>
                  <a:pt x="3821556" y="5767592"/>
                </a:lnTo>
                <a:lnTo>
                  <a:pt x="3921186" y="5767592"/>
                </a:lnTo>
                <a:cubicBezTo>
                  <a:pt x="3941806" y="5767592"/>
                  <a:pt x="3951810" y="5757588"/>
                  <a:pt x="3951810" y="5737377"/>
                </a:cubicBezTo>
                <a:lnTo>
                  <a:pt x="3951810" y="5725535"/>
                </a:lnTo>
                <a:cubicBezTo>
                  <a:pt x="3951810" y="5710223"/>
                  <a:pt x="3942418" y="5700832"/>
                  <a:pt x="3926698" y="5700832"/>
                </a:cubicBezTo>
                <a:lnTo>
                  <a:pt x="3857692" y="5700832"/>
                </a:lnTo>
                <a:cubicBezTo>
                  <a:pt x="3852997" y="5700832"/>
                  <a:pt x="3849934" y="5697770"/>
                  <a:pt x="3849934" y="5693074"/>
                </a:cubicBezTo>
                <a:lnTo>
                  <a:pt x="3849934" y="5659592"/>
                </a:lnTo>
                <a:close/>
                <a:moveTo>
                  <a:pt x="0" y="0"/>
                </a:moveTo>
                <a:lnTo>
                  <a:pt x="5273675" y="0"/>
                </a:lnTo>
                <a:lnTo>
                  <a:pt x="5273675" y="6011863"/>
                </a:lnTo>
                <a:lnTo>
                  <a:pt x="0" y="6011863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Obrázek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310DF32-F382-E76F-052A-ADD2ECABD4D2}"/>
              </a:ext>
            </a:extLst>
          </p:cNvPr>
          <p:cNvSpPr/>
          <p:nvPr userDrawn="1"/>
        </p:nvSpPr>
        <p:spPr>
          <a:xfrm>
            <a:off x="0" y="0"/>
            <a:ext cx="5418138" cy="60118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noProof="0"/>
          </a:p>
        </p:txBody>
      </p:sp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449263" y="1314450"/>
            <a:ext cx="4536000" cy="4032250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/>
              <a:t>První úroveň</a:t>
            </a:r>
          </a:p>
          <a:p>
            <a:pPr lvl="1"/>
            <a:r>
              <a:rPr lang="cs-CZ" noProof="0"/>
              <a:t>Druhá úroveň</a:t>
            </a:r>
          </a:p>
          <a:p>
            <a:pPr lvl="2"/>
            <a:r>
              <a:rPr lang="cs-CZ" noProof="0"/>
              <a:t>Třetí úroveň</a:t>
            </a:r>
          </a:p>
          <a:p>
            <a:pPr lvl="3"/>
            <a:r>
              <a:rPr lang="cs-CZ" noProof="0"/>
              <a:t>Čtvrtá úroveň</a:t>
            </a:r>
          </a:p>
          <a:p>
            <a:pPr lvl="4"/>
            <a:r>
              <a:rPr lang="cs-CZ" noProof="0"/>
              <a:t>Pátá úroveň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| 08.11. 2023 | Odborná praxe | GQD-1 | Ondřej Hlaváček</a:t>
            </a:r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648000"/>
            <a:ext cx="4535999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>
          <a:xfrm>
            <a:off x="449264" y="269875"/>
            <a:ext cx="4535999" cy="360000"/>
          </a:xfrm>
        </p:spPr>
        <p:txBody>
          <a:bodyPr/>
          <a:lstStyle>
            <a:lvl1pPr>
              <a:defRPr/>
            </a:lvl1pPr>
          </a:lstStyle>
          <a:p>
            <a:r>
              <a:rPr lang="cs-CZ" noProof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1545224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| 08.11. 2023 | Odborná praxe | GQD-1 | Ondřej Hlaváček</a:t>
            </a:r>
          </a:p>
        </p:txBody>
      </p:sp>
      <p:sp>
        <p:nvSpPr>
          <p:cNvPr id="9" name="Zástupný symbol pro text 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1314450"/>
            <a:ext cx="3168650" cy="4032250"/>
          </a:xfrm>
        </p:spPr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/>
              <a:t>První úroveň</a:t>
            </a:r>
          </a:p>
          <a:p>
            <a:pPr lvl="1"/>
            <a:r>
              <a:rPr lang="cs-CZ" noProof="0"/>
              <a:t>Druhá úroveň</a:t>
            </a:r>
          </a:p>
          <a:p>
            <a:pPr lvl="2"/>
            <a:r>
              <a:rPr lang="cs-CZ" noProof="0"/>
              <a:t>Třetí úroveň</a:t>
            </a:r>
          </a:p>
          <a:p>
            <a:pPr lvl="3"/>
            <a:r>
              <a:rPr lang="cs-CZ" noProof="0"/>
              <a:t>Čtvrtá úroveň</a:t>
            </a:r>
          </a:p>
          <a:p>
            <a:pPr lvl="4"/>
            <a:r>
              <a:rPr lang="cs-CZ" noProof="0"/>
              <a:t>Pátá úroveň</a:t>
            </a:r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762375" y="1314450"/>
            <a:ext cx="6480175" cy="4032250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Obrázek</a:t>
            </a:r>
          </a:p>
        </p:txBody>
      </p:sp>
      <p:sp>
        <p:nvSpPr>
          <p:cNvPr id="15" name="Zástupný symbol pro text 28"/>
          <p:cNvSpPr>
            <a:spLocks noGrp="1"/>
          </p:cNvSpPr>
          <p:nvPr>
            <p:ph type="body" sz="quarter" idx="14" hasCustomPrompt="1"/>
          </p:nvPr>
        </p:nvSpPr>
        <p:spPr>
          <a:xfrm>
            <a:off x="449263" y="648000"/>
            <a:ext cx="9793287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/>
              <a:t>Podnadpis</a:t>
            </a:r>
          </a:p>
        </p:txBody>
      </p:sp>
      <p:sp>
        <p:nvSpPr>
          <p:cNvPr id="4" name="Nadpis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3968414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&amp;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| 08.11. 2023 | Odborná praxe | GQD-1 | Ondřej Hlaváček</a:t>
            </a:r>
          </a:p>
        </p:txBody>
      </p:sp>
      <p:sp>
        <p:nvSpPr>
          <p:cNvPr id="6" name="Zástupný symbol pro obrázek 10">
            <a:extLst>
              <a:ext uri="{FF2B5EF4-FFF2-40B4-BE49-F238E27FC236}">
                <a16:creationId xmlns:a16="http://schemas.microsoft.com/office/drawing/2014/main" id="{D342297C-903D-33B7-EE74-B657A96671C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0691813" cy="5346700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Obrázek</a:t>
            </a:r>
          </a:p>
        </p:txBody>
      </p:sp>
    </p:spTree>
    <p:extLst>
      <p:ext uri="{BB962C8B-B14F-4D97-AF65-F5344CB8AC3E}">
        <p14:creationId xmlns:p14="http://schemas.microsoft.com/office/powerpoint/2010/main" val="3036453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| 08.11. 2023 | Odborná praxe | GQD-1 | Ondřej Hlaváček</a:t>
            </a:r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449263" y="900000"/>
            <a:ext cx="9793288" cy="4446700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Obrázek</a:t>
            </a:r>
          </a:p>
        </p:txBody>
      </p:sp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2899805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4877CB86-63EE-5524-5FB8-600E3F90AAAF}"/>
              </a:ext>
            </a:extLst>
          </p:cNvPr>
          <p:cNvSpPr/>
          <p:nvPr userDrawn="1"/>
        </p:nvSpPr>
        <p:spPr>
          <a:xfrm>
            <a:off x="0" y="0"/>
            <a:ext cx="6228000" cy="6011863"/>
          </a:xfrm>
          <a:custGeom>
            <a:avLst/>
            <a:gdLst>
              <a:gd name="connsiteX0" fmla="*/ 0 w 6228000"/>
              <a:gd name="connsiteY0" fmla="*/ 0 h 6011863"/>
              <a:gd name="connsiteX1" fmla="*/ 6228000 w 6228000"/>
              <a:gd name="connsiteY1" fmla="*/ 0 h 6011863"/>
              <a:gd name="connsiteX2" fmla="*/ 6228000 w 6228000"/>
              <a:gd name="connsiteY2" fmla="*/ 6011863 h 6011863"/>
              <a:gd name="connsiteX3" fmla="*/ 0 w 6228000"/>
              <a:gd name="connsiteY3" fmla="*/ 6011863 h 6011863"/>
              <a:gd name="connsiteX4" fmla="*/ 0 w 6228000"/>
              <a:gd name="connsiteY4" fmla="*/ 0 h 6011863"/>
              <a:gd name="connsiteX0" fmla="*/ 0 w 6228000"/>
              <a:gd name="connsiteY0" fmla="*/ 0 h 6011863"/>
              <a:gd name="connsiteX1" fmla="*/ 6228000 w 6228000"/>
              <a:gd name="connsiteY1" fmla="*/ 0 h 6011863"/>
              <a:gd name="connsiteX2" fmla="*/ 4608750 w 6228000"/>
              <a:gd name="connsiteY2" fmla="*/ 6011863 h 6011863"/>
              <a:gd name="connsiteX3" fmla="*/ 0 w 6228000"/>
              <a:gd name="connsiteY3" fmla="*/ 6011863 h 6011863"/>
              <a:gd name="connsiteX4" fmla="*/ 0 w 6228000"/>
              <a:gd name="connsiteY4" fmla="*/ 0 h 6011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28000" h="6011863">
                <a:moveTo>
                  <a:pt x="0" y="0"/>
                </a:moveTo>
                <a:lnTo>
                  <a:pt x="6228000" y="0"/>
                </a:lnTo>
                <a:lnTo>
                  <a:pt x="4608750" y="6011863"/>
                </a:lnTo>
                <a:lnTo>
                  <a:pt x="0" y="601186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noProof="0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75261AE5-0C5F-B1E3-2914-16679B5E7F82}"/>
              </a:ext>
            </a:extLst>
          </p:cNvPr>
          <p:cNvSpPr/>
          <p:nvPr userDrawn="1"/>
        </p:nvSpPr>
        <p:spPr>
          <a:xfrm>
            <a:off x="6803813" y="4247863"/>
            <a:ext cx="3888000" cy="1764000"/>
          </a:xfrm>
          <a:custGeom>
            <a:avLst/>
            <a:gdLst>
              <a:gd name="connsiteX0" fmla="*/ 0 w 3888000"/>
              <a:gd name="connsiteY0" fmla="*/ 0 h 1764000"/>
              <a:gd name="connsiteX1" fmla="*/ 3888000 w 3888000"/>
              <a:gd name="connsiteY1" fmla="*/ 0 h 1764000"/>
              <a:gd name="connsiteX2" fmla="*/ 3888000 w 3888000"/>
              <a:gd name="connsiteY2" fmla="*/ 1764000 h 1764000"/>
              <a:gd name="connsiteX3" fmla="*/ 0 w 3888000"/>
              <a:gd name="connsiteY3" fmla="*/ 1764000 h 1764000"/>
              <a:gd name="connsiteX4" fmla="*/ 0 w 3888000"/>
              <a:gd name="connsiteY4" fmla="*/ 0 h 1764000"/>
              <a:gd name="connsiteX0" fmla="*/ 0 w 3888000"/>
              <a:gd name="connsiteY0" fmla="*/ 0 h 1764000"/>
              <a:gd name="connsiteX1" fmla="*/ 3888000 w 3888000"/>
              <a:gd name="connsiteY1" fmla="*/ 0 h 1764000"/>
              <a:gd name="connsiteX2" fmla="*/ 3888000 w 3888000"/>
              <a:gd name="connsiteY2" fmla="*/ 1764000 h 1764000"/>
              <a:gd name="connsiteX3" fmla="*/ 0 w 3888000"/>
              <a:gd name="connsiteY3" fmla="*/ 1764000 h 1764000"/>
              <a:gd name="connsiteX4" fmla="*/ 0 w 3888000"/>
              <a:gd name="connsiteY4" fmla="*/ 0 h 1764000"/>
              <a:gd name="connsiteX0" fmla="*/ 0 w 3888000"/>
              <a:gd name="connsiteY0" fmla="*/ 0 h 1764000"/>
              <a:gd name="connsiteX1" fmla="*/ 3888000 w 3888000"/>
              <a:gd name="connsiteY1" fmla="*/ 0 h 1764000"/>
              <a:gd name="connsiteX2" fmla="*/ 3888000 w 3888000"/>
              <a:gd name="connsiteY2" fmla="*/ 1764000 h 1764000"/>
              <a:gd name="connsiteX3" fmla="*/ 0 w 3888000"/>
              <a:gd name="connsiteY3" fmla="*/ 1764000 h 1764000"/>
              <a:gd name="connsiteX4" fmla="*/ 0 w 3888000"/>
              <a:gd name="connsiteY4" fmla="*/ 0 h 1764000"/>
              <a:gd name="connsiteX0" fmla="*/ 0 w 3888000"/>
              <a:gd name="connsiteY0" fmla="*/ 0 h 1764000"/>
              <a:gd name="connsiteX1" fmla="*/ 3888000 w 3888000"/>
              <a:gd name="connsiteY1" fmla="*/ 0 h 1764000"/>
              <a:gd name="connsiteX2" fmla="*/ 3888000 w 3888000"/>
              <a:gd name="connsiteY2" fmla="*/ 1764000 h 1764000"/>
              <a:gd name="connsiteX3" fmla="*/ 0 w 3888000"/>
              <a:gd name="connsiteY3" fmla="*/ 1764000 h 1764000"/>
              <a:gd name="connsiteX4" fmla="*/ 0 w 3888000"/>
              <a:gd name="connsiteY4" fmla="*/ 0 h 1764000"/>
              <a:gd name="connsiteX0" fmla="*/ 0 w 3888000"/>
              <a:gd name="connsiteY0" fmla="*/ 1764000 h 1764000"/>
              <a:gd name="connsiteX1" fmla="*/ 3888000 w 3888000"/>
              <a:gd name="connsiteY1" fmla="*/ 0 h 1764000"/>
              <a:gd name="connsiteX2" fmla="*/ 3888000 w 3888000"/>
              <a:gd name="connsiteY2" fmla="*/ 1764000 h 1764000"/>
              <a:gd name="connsiteX3" fmla="*/ 0 w 3888000"/>
              <a:gd name="connsiteY3" fmla="*/ 1764000 h 176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88000" h="1764000">
                <a:moveTo>
                  <a:pt x="0" y="1764000"/>
                </a:moveTo>
                <a:lnTo>
                  <a:pt x="3888000" y="0"/>
                </a:lnTo>
                <a:lnTo>
                  <a:pt x="3888000" y="1764000"/>
                </a:lnTo>
                <a:lnTo>
                  <a:pt x="0" y="1764000"/>
                </a:lnTo>
                <a:close/>
              </a:path>
            </a:pathLst>
          </a:cu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noProof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2D0ACEC7-B8BE-6CF6-F447-BD72724DF43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601394" y="0"/>
            <a:ext cx="6090650" cy="6011863"/>
          </a:xfrm>
          <a:custGeom>
            <a:avLst/>
            <a:gdLst>
              <a:gd name="connsiteX0" fmla="*/ 1634355 w 6100763"/>
              <a:gd name="connsiteY0" fmla="*/ 0 h 6011863"/>
              <a:gd name="connsiteX1" fmla="*/ 6100763 w 6100763"/>
              <a:gd name="connsiteY1" fmla="*/ 0 h 6011863"/>
              <a:gd name="connsiteX2" fmla="*/ 6100763 w 6100763"/>
              <a:gd name="connsiteY2" fmla="*/ 4252625 h 6011863"/>
              <a:gd name="connsiteX3" fmla="*/ 2215144 w 6100763"/>
              <a:gd name="connsiteY3" fmla="*/ 6011863 h 6011863"/>
              <a:gd name="connsiteX4" fmla="*/ 0 w 6100763"/>
              <a:gd name="connsiteY4" fmla="*/ 6011863 h 6011863"/>
              <a:gd name="connsiteX5" fmla="*/ 0 w 6100763"/>
              <a:gd name="connsiteY5" fmla="*/ 6011862 h 6011863"/>
              <a:gd name="connsiteX6" fmla="*/ 15106 w 6100763"/>
              <a:gd name="connsiteY6" fmla="*/ 6011862 h 6011863"/>
              <a:gd name="connsiteX0" fmla="*/ 1634355 w 6100763"/>
              <a:gd name="connsiteY0" fmla="*/ 0 h 6011863"/>
              <a:gd name="connsiteX1" fmla="*/ 6100763 w 6100763"/>
              <a:gd name="connsiteY1" fmla="*/ 0 h 6011863"/>
              <a:gd name="connsiteX2" fmla="*/ 6100763 w 6100763"/>
              <a:gd name="connsiteY2" fmla="*/ 4252625 h 6011863"/>
              <a:gd name="connsiteX3" fmla="*/ 2219907 w 6100763"/>
              <a:gd name="connsiteY3" fmla="*/ 6011863 h 6011863"/>
              <a:gd name="connsiteX4" fmla="*/ 0 w 6100763"/>
              <a:gd name="connsiteY4" fmla="*/ 6011863 h 6011863"/>
              <a:gd name="connsiteX5" fmla="*/ 0 w 6100763"/>
              <a:gd name="connsiteY5" fmla="*/ 6011862 h 6011863"/>
              <a:gd name="connsiteX6" fmla="*/ 15106 w 6100763"/>
              <a:gd name="connsiteY6" fmla="*/ 6011862 h 6011863"/>
              <a:gd name="connsiteX7" fmla="*/ 1634355 w 6100763"/>
              <a:gd name="connsiteY7" fmla="*/ 0 h 6011863"/>
              <a:gd name="connsiteX0" fmla="*/ 1634355 w 6100763"/>
              <a:gd name="connsiteY0" fmla="*/ 0 h 6011863"/>
              <a:gd name="connsiteX1" fmla="*/ 6100763 w 6100763"/>
              <a:gd name="connsiteY1" fmla="*/ 0 h 6011863"/>
              <a:gd name="connsiteX2" fmla="*/ 6098382 w 6100763"/>
              <a:gd name="connsiteY2" fmla="*/ 4257388 h 6011863"/>
              <a:gd name="connsiteX3" fmla="*/ 2219907 w 6100763"/>
              <a:gd name="connsiteY3" fmla="*/ 6011863 h 6011863"/>
              <a:gd name="connsiteX4" fmla="*/ 0 w 6100763"/>
              <a:gd name="connsiteY4" fmla="*/ 6011863 h 6011863"/>
              <a:gd name="connsiteX5" fmla="*/ 0 w 6100763"/>
              <a:gd name="connsiteY5" fmla="*/ 6011862 h 6011863"/>
              <a:gd name="connsiteX6" fmla="*/ 15106 w 6100763"/>
              <a:gd name="connsiteY6" fmla="*/ 6011862 h 6011863"/>
              <a:gd name="connsiteX7" fmla="*/ 1634355 w 6100763"/>
              <a:gd name="connsiteY7" fmla="*/ 0 h 6011863"/>
              <a:gd name="connsiteX0" fmla="*/ 1634355 w 6100993"/>
              <a:gd name="connsiteY0" fmla="*/ 0 h 6011863"/>
              <a:gd name="connsiteX1" fmla="*/ 6100763 w 6100993"/>
              <a:gd name="connsiteY1" fmla="*/ 0 h 6011863"/>
              <a:gd name="connsiteX2" fmla="*/ 6100764 w 6100993"/>
              <a:gd name="connsiteY2" fmla="*/ 4255007 h 6011863"/>
              <a:gd name="connsiteX3" fmla="*/ 2219907 w 6100993"/>
              <a:gd name="connsiteY3" fmla="*/ 6011863 h 6011863"/>
              <a:gd name="connsiteX4" fmla="*/ 0 w 6100993"/>
              <a:gd name="connsiteY4" fmla="*/ 6011863 h 6011863"/>
              <a:gd name="connsiteX5" fmla="*/ 0 w 6100993"/>
              <a:gd name="connsiteY5" fmla="*/ 6011862 h 6011863"/>
              <a:gd name="connsiteX6" fmla="*/ 15106 w 6100993"/>
              <a:gd name="connsiteY6" fmla="*/ 6011862 h 6011863"/>
              <a:gd name="connsiteX7" fmla="*/ 1634355 w 6100993"/>
              <a:gd name="connsiteY7" fmla="*/ 0 h 6011863"/>
              <a:gd name="connsiteX0" fmla="*/ 1634355 w 6100993"/>
              <a:gd name="connsiteY0" fmla="*/ 0 h 6011863"/>
              <a:gd name="connsiteX1" fmla="*/ 6100763 w 6100993"/>
              <a:gd name="connsiteY1" fmla="*/ 0 h 6011863"/>
              <a:gd name="connsiteX2" fmla="*/ 6100764 w 6100993"/>
              <a:gd name="connsiteY2" fmla="*/ 4252626 h 6011863"/>
              <a:gd name="connsiteX3" fmla="*/ 2219907 w 6100993"/>
              <a:gd name="connsiteY3" fmla="*/ 6011863 h 6011863"/>
              <a:gd name="connsiteX4" fmla="*/ 0 w 6100993"/>
              <a:gd name="connsiteY4" fmla="*/ 6011863 h 6011863"/>
              <a:gd name="connsiteX5" fmla="*/ 0 w 6100993"/>
              <a:gd name="connsiteY5" fmla="*/ 6011862 h 6011863"/>
              <a:gd name="connsiteX6" fmla="*/ 15106 w 6100993"/>
              <a:gd name="connsiteY6" fmla="*/ 6011862 h 6011863"/>
              <a:gd name="connsiteX7" fmla="*/ 1634355 w 6100993"/>
              <a:gd name="connsiteY7" fmla="*/ 0 h 6011863"/>
              <a:gd name="connsiteX0" fmla="*/ 1634355 w 6100993"/>
              <a:gd name="connsiteY0" fmla="*/ 0 h 6011863"/>
              <a:gd name="connsiteX1" fmla="*/ 6100763 w 6100993"/>
              <a:gd name="connsiteY1" fmla="*/ 0 h 6011863"/>
              <a:gd name="connsiteX2" fmla="*/ 6100764 w 6100993"/>
              <a:gd name="connsiteY2" fmla="*/ 4252626 h 6011863"/>
              <a:gd name="connsiteX3" fmla="*/ 2222288 w 6100993"/>
              <a:gd name="connsiteY3" fmla="*/ 6011863 h 6011863"/>
              <a:gd name="connsiteX4" fmla="*/ 0 w 6100993"/>
              <a:gd name="connsiteY4" fmla="*/ 6011863 h 6011863"/>
              <a:gd name="connsiteX5" fmla="*/ 0 w 6100993"/>
              <a:gd name="connsiteY5" fmla="*/ 6011862 h 6011863"/>
              <a:gd name="connsiteX6" fmla="*/ 15106 w 6100993"/>
              <a:gd name="connsiteY6" fmla="*/ 6011862 h 6011863"/>
              <a:gd name="connsiteX7" fmla="*/ 1634355 w 6100993"/>
              <a:gd name="connsiteY7" fmla="*/ 0 h 6011863"/>
              <a:gd name="connsiteX0" fmla="*/ 1634355 w 6100993"/>
              <a:gd name="connsiteY0" fmla="*/ 0 h 6011863"/>
              <a:gd name="connsiteX1" fmla="*/ 6100763 w 6100993"/>
              <a:gd name="connsiteY1" fmla="*/ 0 h 6011863"/>
              <a:gd name="connsiteX2" fmla="*/ 6100764 w 6100993"/>
              <a:gd name="connsiteY2" fmla="*/ 4252626 h 6011863"/>
              <a:gd name="connsiteX3" fmla="*/ 2222288 w 6100993"/>
              <a:gd name="connsiteY3" fmla="*/ 6011863 h 6011863"/>
              <a:gd name="connsiteX4" fmla="*/ 0 w 6100993"/>
              <a:gd name="connsiteY4" fmla="*/ 6011863 h 6011863"/>
              <a:gd name="connsiteX5" fmla="*/ 0 w 6100993"/>
              <a:gd name="connsiteY5" fmla="*/ 6011862 h 6011863"/>
              <a:gd name="connsiteX6" fmla="*/ 10343 w 6100993"/>
              <a:gd name="connsiteY6" fmla="*/ 6011862 h 6011863"/>
              <a:gd name="connsiteX7" fmla="*/ 1634355 w 6100993"/>
              <a:gd name="connsiteY7" fmla="*/ 0 h 6011863"/>
              <a:gd name="connsiteX0" fmla="*/ 1831999 w 6298637"/>
              <a:gd name="connsiteY0" fmla="*/ 0 h 6090443"/>
              <a:gd name="connsiteX1" fmla="*/ 6298407 w 6298637"/>
              <a:gd name="connsiteY1" fmla="*/ 0 h 6090443"/>
              <a:gd name="connsiteX2" fmla="*/ 6298408 w 6298637"/>
              <a:gd name="connsiteY2" fmla="*/ 4252626 h 6090443"/>
              <a:gd name="connsiteX3" fmla="*/ 2419932 w 6298637"/>
              <a:gd name="connsiteY3" fmla="*/ 6011863 h 6090443"/>
              <a:gd name="connsiteX4" fmla="*/ 197644 w 6298637"/>
              <a:gd name="connsiteY4" fmla="*/ 6011863 h 6090443"/>
              <a:gd name="connsiteX5" fmla="*/ 0 w 6298637"/>
              <a:gd name="connsiteY5" fmla="*/ 6090443 h 6090443"/>
              <a:gd name="connsiteX6" fmla="*/ 207987 w 6298637"/>
              <a:gd name="connsiteY6" fmla="*/ 6011862 h 6090443"/>
              <a:gd name="connsiteX7" fmla="*/ 1831999 w 6298637"/>
              <a:gd name="connsiteY7" fmla="*/ 0 h 6090443"/>
              <a:gd name="connsiteX0" fmla="*/ 1831999 w 6298637"/>
              <a:gd name="connsiteY0" fmla="*/ 0 h 6090443"/>
              <a:gd name="connsiteX1" fmla="*/ 6298407 w 6298637"/>
              <a:gd name="connsiteY1" fmla="*/ 0 h 6090443"/>
              <a:gd name="connsiteX2" fmla="*/ 6298408 w 6298637"/>
              <a:gd name="connsiteY2" fmla="*/ 4252626 h 6090443"/>
              <a:gd name="connsiteX3" fmla="*/ 2419932 w 6298637"/>
              <a:gd name="connsiteY3" fmla="*/ 6011863 h 6090443"/>
              <a:gd name="connsiteX4" fmla="*/ 52388 w 6298637"/>
              <a:gd name="connsiteY4" fmla="*/ 5957094 h 6090443"/>
              <a:gd name="connsiteX5" fmla="*/ 0 w 6298637"/>
              <a:gd name="connsiteY5" fmla="*/ 6090443 h 6090443"/>
              <a:gd name="connsiteX6" fmla="*/ 207987 w 6298637"/>
              <a:gd name="connsiteY6" fmla="*/ 6011862 h 6090443"/>
              <a:gd name="connsiteX7" fmla="*/ 1831999 w 6298637"/>
              <a:gd name="connsiteY7" fmla="*/ 0 h 6090443"/>
              <a:gd name="connsiteX0" fmla="*/ 1831999 w 6298637"/>
              <a:gd name="connsiteY0" fmla="*/ 0 h 6090443"/>
              <a:gd name="connsiteX1" fmla="*/ 6298407 w 6298637"/>
              <a:gd name="connsiteY1" fmla="*/ 0 h 6090443"/>
              <a:gd name="connsiteX2" fmla="*/ 6298408 w 6298637"/>
              <a:gd name="connsiteY2" fmla="*/ 4252626 h 6090443"/>
              <a:gd name="connsiteX3" fmla="*/ 2419932 w 6298637"/>
              <a:gd name="connsiteY3" fmla="*/ 6011863 h 6090443"/>
              <a:gd name="connsiteX4" fmla="*/ 0 w 6298637"/>
              <a:gd name="connsiteY4" fmla="*/ 6090443 h 6090443"/>
              <a:gd name="connsiteX5" fmla="*/ 207987 w 6298637"/>
              <a:gd name="connsiteY5" fmla="*/ 6011862 h 6090443"/>
              <a:gd name="connsiteX6" fmla="*/ 1831999 w 6298637"/>
              <a:gd name="connsiteY6" fmla="*/ 0 h 6090443"/>
              <a:gd name="connsiteX0" fmla="*/ 1624012 w 6090650"/>
              <a:gd name="connsiteY0" fmla="*/ 0 h 6011863"/>
              <a:gd name="connsiteX1" fmla="*/ 6090420 w 6090650"/>
              <a:gd name="connsiteY1" fmla="*/ 0 h 6011863"/>
              <a:gd name="connsiteX2" fmla="*/ 6090421 w 6090650"/>
              <a:gd name="connsiteY2" fmla="*/ 4252626 h 6011863"/>
              <a:gd name="connsiteX3" fmla="*/ 2211945 w 6090650"/>
              <a:gd name="connsiteY3" fmla="*/ 6011863 h 6011863"/>
              <a:gd name="connsiteX4" fmla="*/ 0 w 6090650"/>
              <a:gd name="connsiteY4" fmla="*/ 6011862 h 6011863"/>
              <a:gd name="connsiteX5" fmla="*/ 1624012 w 6090650"/>
              <a:gd name="connsiteY5" fmla="*/ 0 h 6011863"/>
              <a:gd name="connsiteX0" fmla="*/ 1621630 w 6090650"/>
              <a:gd name="connsiteY0" fmla="*/ 0 h 6011863"/>
              <a:gd name="connsiteX1" fmla="*/ 6090420 w 6090650"/>
              <a:gd name="connsiteY1" fmla="*/ 0 h 6011863"/>
              <a:gd name="connsiteX2" fmla="*/ 6090421 w 6090650"/>
              <a:gd name="connsiteY2" fmla="*/ 4252626 h 6011863"/>
              <a:gd name="connsiteX3" fmla="*/ 2211945 w 6090650"/>
              <a:gd name="connsiteY3" fmla="*/ 6011863 h 6011863"/>
              <a:gd name="connsiteX4" fmla="*/ 0 w 6090650"/>
              <a:gd name="connsiteY4" fmla="*/ 6011862 h 6011863"/>
              <a:gd name="connsiteX5" fmla="*/ 1621630 w 6090650"/>
              <a:gd name="connsiteY5" fmla="*/ 0 h 6011863"/>
              <a:gd name="connsiteX0" fmla="*/ 1621630 w 6090650"/>
              <a:gd name="connsiteY0" fmla="*/ 0 h 6014244"/>
              <a:gd name="connsiteX1" fmla="*/ 6090420 w 6090650"/>
              <a:gd name="connsiteY1" fmla="*/ 2381 h 6014244"/>
              <a:gd name="connsiteX2" fmla="*/ 6090421 w 6090650"/>
              <a:gd name="connsiteY2" fmla="*/ 4255007 h 6014244"/>
              <a:gd name="connsiteX3" fmla="*/ 2211945 w 6090650"/>
              <a:gd name="connsiteY3" fmla="*/ 6014244 h 6014244"/>
              <a:gd name="connsiteX4" fmla="*/ 0 w 6090650"/>
              <a:gd name="connsiteY4" fmla="*/ 6014243 h 6014244"/>
              <a:gd name="connsiteX5" fmla="*/ 1621630 w 6090650"/>
              <a:gd name="connsiteY5" fmla="*/ 0 h 6014244"/>
              <a:gd name="connsiteX0" fmla="*/ 1621630 w 6090650"/>
              <a:gd name="connsiteY0" fmla="*/ 0 h 6011863"/>
              <a:gd name="connsiteX1" fmla="*/ 6090420 w 6090650"/>
              <a:gd name="connsiteY1" fmla="*/ 0 h 6011863"/>
              <a:gd name="connsiteX2" fmla="*/ 6090421 w 6090650"/>
              <a:gd name="connsiteY2" fmla="*/ 4252626 h 6011863"/>
              <a:gd name="connsiteX3" fmla="*/ 2211945 w 6090650"/>
              <a:gd name="connsiteY3" fmla="*/ 6011863 h 6011863"/>
              <a:gd name="connsiteX4" fmla="*/ 0 w 6090650"/>
              <a:gd name="connsiteY4" fmla="*/ 6011862 h 6011863"/>
              <a:gd name="connsiteX5" fmla="*/ 1621630 w 6090650"/>
              <a:gd name="connsiteY5" fmla="*/ 0 h 6011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0650" h="6011863">
                <a:moveTo>
                  <a:pt x="1621630" y="0"/>
                </a:moveTo>
                <a:lnTo>
                  <a:pt x="6090420" y="0"/>
                </a:lnTo>
                <a:cubicBezTo>
                  <a:pt x="6089626" y="1419129"/>
                  <a:pt x="6091215" y="2833497"/>
                  <a:pt x="6090421" y="4252626"/>
                </a:cubicBezTo>
                <a:lnTo>
                  <a:pt x="2211945" y="6011863"/>
                </a:lnTo>
                <a:lnTo>
                  <a:pt x="0" y="6011862"/>
                </a:lnTo>
                <a:lnTo>
                  <a:pt x="1621630" y="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 algn="ctr"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cs-CZ" noProof="0" dirty="0"/>
              <a:t>Obrázek</a:t>
            </a:r>
          </a:p>
        </p:txBody>
      </p: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264"/>
          <a:ext cx="1587" cy="12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9" imgH="398" progId="TCLayout.ActiveDocument.1">
                  <p:embed/>
                </p:oleObj>
              </mc:Choice>
              <mc:Fallback>
                <p:oleObj name="think-cell Slide" r:id="rId4" imgW="399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264"/>
                        <a:ext cx="1587" cy="12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Graphic 1">
            <a:extLst>
              <a:ext uri="{FF2B5EF4-FFF2-40B4-BE49-F238E27FC236}">
                <a16:creationId xmlns:a16="http://schemas.microsoft.com/office/drawing/2014/main" id="{E67FD83F-E254-90F2-3FE6-D2286BD6FAA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571122" y="5556311"/>
            <a:ext cx="1671428" cy="180000"/>
          </a:xfrm>
          <a:prstGeom prst="rect">
            <a:avLst/>
          </a:prstGeom>
        </p:spPr>
      </p:pic>
      <p:sp>
        <p:nvSpPr>
          <p:cNvPr id="7" name="Nadpis 6"/>
          <p:cNvSpPr>
            <a:spLocks noGrp="1"/>
          </p:cNvSpPr>
          <p:nvPr userDrawn="1">
            <p:ph type="title" hasCustomPrompt="1"/>
          </p:nvPr>
        </p:nvSpPr>
        <p:spPr>
          <a:xfrm>
            <a:off x="449263" y="396000"/>
            <a:ext cx="4968876" cy="1403760"/>
          </a:xfrm>
        </p:spPr>
        <p:txBody>
          <a:bodyPr anchor="t" anchorCtr="0">
            <a:noAutofit/>
          </a:bodyPr>
          <a:lstStyle>
            <a:lvl1pPr>
              <a:lnSpc>
                <a:spcPts val="6000"/>
              </a:lnSpc>
              <a:defRPr sz="6000" b="0" cap="none" baseline="0">
                <a:solidFill>
                  <a:schemeClr val="accent2"/>
                </a:solidFill>
                <a:latin typeface="SKODA Next Light" panose="020B0304020603020204" pitchFamily="34" charset="0"/>
              </a:defRPr>
            </a:lvl1pPr>
          </a:lstStyle>
          <a:p>
            <a:r>
              <a:rPr lang="cs-CZ" noProof="0"/>
              <a:t>Název</a:t>
            </a:r>
            <a:br>
              <a:rPr lang="cs-CZ" noProof="0"/>
            </a:br>
            <a:r>
              <a:rPr lang="cs-CZ" noProof="0"/>
              <a:t>prezentace</a:t>
            </a:r>
          </a:p>
        </p:txBody>
      </p:sp>
      <p:sp>
        <p:nvSpPr>
          <p:cNvPr id="19" name="Zástupný symbol pro text 18"/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449263" y="2051999"/>
            <a:ext cx="4824412" cy="1350013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Font typeface="Arial" panose="020B0604020202020204" pitchFamily="34" charset="0"/>
              <a:buNone/>
              <a:defRPr sz="2200">
                <a:solidFill>
                  <a:schemeClr val="accent2"/>
                </a:solidFill>
                <a:latin typeface="SKODA Next Light" panose="020B0304020603020204" pitchFamily="34" charset="0"/>
              </a:defRPr>
            </a:lvl1pPr>
          </a:lstStyle>
          <a:p>
            <a:pPr lvl="0"/>
            <a:r>
              <a:rPr lang="cs-CZ" noProof="0"/>
              <a:t>Dodatečné informace</a:t>
            </a:r>
          </a:p>
        </p:txBody>
      </p:sp>
      <p:sp>
        <p:nvSpPr>
          <p:cNvPr id="16" name="Zástupný symbol pro číslo snímku 5"/>
          <p:cNvSpPr>
            <a:spLocks noGrp="1"/>
          </p:cNvSpPr>
          <p:nvPr userDrawn="1">
            <p:ph type="sldNum" sz="quarter" idx="10"/>
          </p:nvPr>
        </p:nvSpPr>
        <p:spPr>
          <a:xfrm>
            <a:off x="449263" y="5778000"/>
            <a:ext cx="269960" cy="180000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22" name="Zástupný symbol pro zápatí 6"/>
          <p:cNvSpPr>
            <a:spLocks noGrp="1"/>
          </p:cNvSpPr>
          <p:nvPr userDrawn="1">
            <p:ph type="ftr" sz="quarter" idx="11"/>
          </p:nvPr>
        </p:nvSpPr>
        <p:spPr>
          <a:xfrm>
            <a:off x="449262" y="5598000"/>
            <a:ext cx="7686737" cy="180000"/>
          </a:xfrm>
          <a:noFill/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GB" sz="1200" b="0" smtClean="0">
                <a:solidFill>
                  <a:schemeClr val="accent2"/>
                </a:solidFill>
                <a:effectLst/>
                <a:latin typeface="SKODA Next Light" panose="020B0304020603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cs-CZ" noProof="0"/>
              <a:t>| 08.11. 2023 | Odborná praxe | GQD-1 | Ondřej Hlaváček</a:t>
            </a:r>
          </a:p>
        </p:txBody>
      </p:sp>
    </p:spTree>
    <p:extLst>
      <p:ext uri="{BB962C8B-B14F-4D97-AF65-F5344CB8AC3E}">
        <p14:creationId xmlns:p14="http://schemas.microsoft.com/office/powerpoint/2010/main" val="2424483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ástupný symbol pro text 12">
            <a:extLst>
              <a:ext uri="{FF2B5EF4-FFF2-40B4-BE49-F238E27FC236}">
                <a16:creationId xmlns:a16="http://schemas.microsoft.com/office/drawing/2014/main" id="{A6B2640B-D782-F371-CA4F-1DE716E6430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263" y="3834000"/>
            <a:ext cx="3167934" cy="1512000"/>
          </a:xfrm>
        </p:spPr>
        <p:txBody>
          <a:bodyPr anchor="t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/>
              <a:t>Detaily</a:t>
            </a:r>
          </a:p>
        </p:txBody>
      </p:sp>
      <p:sp>
        <p:nvSpPr>
          <p:cNvPr id="10" name="Zástupný symbol pro text 12">
            <a:extLst>
              <a:ext uri="{FF2B5EF4-FFF2-40B4-BE49-F238E27FC236}">
                <a16:creationId xmlns:a16="http://schemas.microsoft.com/office/drawing/2014/main" id="{495C32C4-7CA1-C2BF-FBF5-BF42F7AD34D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62375" y="3834000"/>
            <a:ext cx="3167934" cy="1512000"/>
          </a:xfrm>
        </p:spPr>
        <p:txBody>
          <a:bodyPr anchor="t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/>
              <a:t>Detaily</a:t>
            </a:r>
          </a:p>
        </p:txBody>
      </p:sp>
      <p:sp>
        <p:nvSpPr>
          <p:cNvPr id="21" name="Zástupný symbol pro text 12">
            <a:extLst>
              <a:ext uri="{FF2B5EF4-FFF2-40B4-BE49-F238E27FC236}">
                <a16:creationId xmlns:a16="http://schemas.microsoft.com/office/drawing/2014/main" id="{F9F06556-A77B-B4AC-B11D-2942230DC96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073142" y="3834000"/>
            <a:ext cx="3167934" cy="1512000"/>
          </a:xfrm>
        </p:spPr>
        <p:txBody>
          <a:bodyPr anchor="t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/>
              <a:t>Detaily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| 08.11. 2023 | Odborná praxe | GQD-1 | Ondřej Hlaváček</a:t>
            </a:r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449979" y="1314449"/>
            <a:ext cx="3167934" cy="2087563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Obrázek</a:t>
            </a:r>
          </a:p>
        </p:txBody>
      </p:sp>
      <p:sp>
        <p:nvSpPr>
          <p:cNvPr id="13" name="Zástupný symbol pro text 12"/>
          <p:cNvSpPr>
            <a:spLocks noGrp="1"/>
          </p:cNvSpPr>
          <p:nvPr>
            <p:ph type="body" sz="quarter" idx="14" hasCustomPrompt="1"/>
          </p:nvPr>
        </p:nvSpPr>
        <p:spPr>
          <a:xfrm>
            <a:off x="450000" y="3510000"/>
            <a:ext cx="3167934" cy="216000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 b="1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/>
              <a:t>Titulek</a:t>
            </a:r>
          </a:p>
        </p:txBody>
      </p:sp>
      <p:sp>
        <p:nvSpPr>
          <p:cNvPr id="24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648000"/>
            <a:ext cx="9793287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/>
              <a:t>Podnadpis</a:t>
            </a:r>
          </a:p>
        </p:txBody>
      </p:sp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/>
              <a:t>Nadpis (shrnutí stránky)</a:t>
            </a:r>
          </a:p>
        </p:txBody>
      </p:sp>
      <p:sp>
        <p:nvSpPr>
          <p:cNvPr id="6" name="Zástupný symbol pro obrázek 10">
            <a:extLst>
              <a:ext uri="{FF2B5EF4-FFF2-40B4-BE49-F238E27FC236}">
                <a16:creationId xmlns:a16="http://schemas.microsoft.com/office/drawing/2014/main" id="{4D25A0D5-25EA-D8DF-CB51-891DE68E94D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763091" y="1314449"/>
            <a:ext cx="3167934" cy="2087563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Obrázek</a:t>
            </a:r>
          </a:p>
        </p:txBody>
      </p:sp>
      <p:sp>
        <p:nvSpPr>
          <p:cNvPr id="9" name="Zástupný symbol pro text 12">
            <a:extLst>
              <a:ext uri="{FF2B5EF4-FFF2-40B4-BE49-F238E27FC236}">
                <a16:creationId xmlns:a16="http://schemas.microsoft.com/office/drawing/2014/main" id="{7460970A-5969-77C3-EB7C-1FF997745C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63112" y="3510000"/>
            <a:ext cx="3167934" cy="216000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 b="1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/>
              <a:t>Titulek</a:t>
            </a:r>
          </a:p>
        </p:txBody>
      </p:sp>
      <p:sp>
        <p:nvSpPr>
          <p:cNvPr id="12" name="Zástupný symbol pro obrázek 10">
            <a:extLst>
              <a:ext uri="{FF2B5EF4-FFF2-40B4-BE49-F238E27FC236}">
                <a16:creationId xmlns:a16="http://schemas.microsoft.com/office/drawing/2014/main" id="{4E680B22-40D0-9296-B85E-0D1107B14EC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7073858" y="1314449"/>
            <a:ext cx="3167934" cy="2087563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Obrázek</a:t>
            </a:r>
          </a:p>
        </p:txBody>
      </p:sp>
      <p:sp>
        <p:nvSpPr>
          <p:cNvPr id="20" name="Zástupný symbol pro text 12">
            <a:extLst>
              <a:ext uri="{FF2B5EF4-FFF2-40B4-BE49-F238E27FC236}">
                <a16:creationId xmlns:a16="http://schemas.microsoft.com/office/drawing/2014/main" id="{4DE1D234-3B1E-4C6E-1E4D-8FA494E038D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073879" y="3510000"/>
            <a:ext cx="3167934" cy="216000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 b="1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/>
              <a:t>Titulek</a:t>
            </a:r>
          </a:p>
        </p:txBody>
      </p:sp>
    </p:spTree>
    <p:extLst>
      <p:ext uri="{BB962C8B-B14F-4D97-AF65-F5344CB8AC3E}">
        <p14:creationId xmlns:p14="http://schemas.microsoft.com/office/powerpoint/2010/main" val="461703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tli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| 08.11. 2023 | Odborná praxe | GQD-1 | Ondřej Hlaváček</a:t>
            </a:r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449979" y="1314450"/>
            <a:ext cx="4823696" cy="1691100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Obrázek</a:t>
            </a:r>
          </a:p>
        </p:txBody>
      </p:sp>
      <p:sp>
        <p:nvSpPr>
          <p:cNvPr id="13" name="Zástupný symbol pro text 12"/>
          <p:cNvSpPr>
            <a:spLocks noGrp="1"/>
          </p:cNvSpPr>
          <p:nvPr>
            <p:ph type="body" sz="quarter" idx="14" hasCustomPrompt="1"/>
          </p:nvPr>
        </p:nvSpPr>
        <p:spPr>
          <a:xfrm>
            <a:off x="449979" y="3077550"/>
            <a:ext cx="4823696" cy="180000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/>
              <a:t>Titulek</a:t>
            </a:r>
          </a:p>
        </p:txBody>
      </p:sp>
      <p:sp>
        <p:nvSpPr>
          <p:cNvPr id="14" name="Zástupný symbol pro obrázek 10"/>
          <p:cNvSpPr>
            <a:spLocks noGrp="1"/>
          </p:cNvSpPr>
          <p:nvPr>
            <p:ph type="pic" sz="quarter" idx="15" hasCustomPrompt="1"/>
          </p:nvPr>
        </p:nvSpPr>
        <p:spPr>
          <a:xfrm>
            <a:off x="449263" y="3402900"/>
            <a:ext cx="4823696" cy="1691100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Obrázek</a:t>
            </a:r>
          </a:p>
        </p:txBody>
      </p:sp>
      <p:sp>
        <p:nvSpPr>
          <p:cNvPr id="15" name="Zástupný symbol pro text 12"/>
          <p:cNvSpPr>
            <a:spLocks noGrp="1"/>
          </p:cNvSpPr>
          <p:nvPr>
            <p:ph type="body" sz="quarter" idx="16" hasCustomPrompt="1"/>
          </p:nvPr>
        </p:nvSpPr>
        <p:spPr>
          <a:xfrm>
            <a:off x="449263" y="5166000"/>
            <a:ext cx="4823696" cy="180000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/>
              <a:t>Titulek</a:t>
            </a:r>
          </a:p>
        </p:txBody>
      </p:sp>
      <p:sp>
        <p:nvSpPr>
          <p:cNvPr id="16" name="Zástupný symbol pro obrázek 10"/>
          <p:cNvSpPr>
            <a:spLocks noGrp="1"/>
          </p:cNvSpPr>
          <p:nvPr>
            <p:ph type="pic" sz="quarter" idx="17" hasCustomPrompt="1"/>
          </p:nvPr>
        </p:nvSpPr>
        <p:spPr>
          <a:xfrm>
            <a:off x="5419570" y="1314450"/>
            <a:ext cx="4823696" cy="1691100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Obrázek</a:t>
            </a:r>
          </a:p>
        </p:txBody>
      </p:sp>
      <p:sp>
        <p:nvSpPr>
          <p:cNvPr id="17" name="Zástupný symbol pro text 12"/>
          <p:cNvSpPr>
            <a:spLocks noGrp="1"/>
          </p:cNvSpPr>
          <p:nvPr>
            <p:ph type="body" sz="quarter" idx="18" hasCustomPrompt="1"/>
          </p:nvPr>
        </p:nvSpPr>
        <p:spPr>
          <a:xfrm>
            <a:off x="5419570" y="3077550"/>
            <a:ext cx="4823696" cy="180000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/>
              <a:t>Titulek</a:t>
            </a:r>
          </a:p>
        </p:txBody>
      </p:sp>
      <p:sp>
        <p:nvSpPr>
          <p:cNvPr id="18" name="Zástupný symbol pro obrázek 10"/>
          <p:cNvSpPr>
            <a:spLocks noGrp="1"/>
          </p:cNvSpPr>
          <p:nvPr>
            <p:ph type="pic" sz="quarter" idx="19" hasCustomPrompt="1"/>
          </p:nvPr>
        </p:nvSpPr>
        <p:spPr>
          <a:xfrm>
            <a:off x="5418854" y="3402900"/>
            <a:ext cx="4823696" cy="1691100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Obrázek</a:t>
            </a:r>
          </a:p>
        </p:txBody>
      </p:sp>
      <p:sp>
        <p:nvSpPr>
          <p:cNvPr id="19" name="Zástupný symbol pro text 12"/>
          <p:cNvSpPr>
            <a:spLocks noGrp="1"/>
          </p:cNvSpPr>
          <p:nvPr>
            <p:ph type="body" sz="quarter" idx="20" hasCustomPrompt="1"/>
          </p:nvPr>
        </p:nvSpPr>
        <p:spPr>
          <a:xfrm>
            <a:off x="5418854" y="5166000"/>
            <a:ext cx="4823696" cy="180000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/>
              <a:t>Titulek</a:t>
            </a:r>
          </a:p>
        </p:txBody>
      </p:sp>
      <p:sp>
        <p:nvSpPr>
          <p:cNvPr id="24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648000"/>
            <a:ext cx="9793287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/>
              <a:t>Podnadpis</a:t>
            </a:r>
          </a:p>
        </p:txBody>
      </p:sp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284968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pro číslo snímku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7" name="Zástupný symbol pro zápatí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| 08.11. 2023 | Odborná praxe | GQD-1 | Ondřej Hlaváček</a:t>
            </a:r>
          </a:p>
        </p:txBody>
      </p:sp>
      <p:sp>
        <p:nvSpPr>
          <p:cNvPr id="10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648000"/>
            <a:ext cx="9793288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/>
              <a:t>Podnadpis</a:t>
            </a:r>
          </a:p>
        </p:txBody>
      </p:sp>
      <p:sp>
        <p:nvSpPr>
          <p:cNvPr id="3" name="Nadpis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cs-CZ" noProof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75277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Emeral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EE04D5E7-7402-1B77-3F07-B7B9A28ED3A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41200" y="5659200"/>
            <a:ext cx="1002857" cy="108000"/>
          </a:xfrm>
          <a:prstGeom prst="rect">
            <a:avLst/>
          </a:prstGeom>
        </p:spPr>
      </p:pic>
      <p:sp>
        <p:nvSpPr>
          <p:cNvPr id="6" name="Zástupný symbol pro číslo snímku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7" name="Zástupný symbol pro zápatí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| 08.11. 2023 | Odborná praxe | GQD-1 | Ondřej Hlaváček</a:t>
            </a:r>
          </a:p>
        </p:txBody>
      </p:sp>
      <p:sp>
        <p:nvSpPr>
          <p:cNvPr id="10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648000"/>
            <a:ext cx="9793288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cs-CZ" noProof="0"/>
              <a:t>Podnadpis</a:t>
            </a:r>
          </a:p>
        </p:txBody>
      </p:sp>
      <p:sp>
        <p:nvSpPr>
          <p:cNvPr id="3" name="Nadpis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accent2"/>
                </a:solidFill>
              </a:defRPr>
            </a:lvl1pPr>
          </a:lstStyle>
          <a:p>
            <a:r>
              <a:rPr lang="cs-CZ" noProof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2079367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Electric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CBC3C684-5239-0E95-9F6B-4AF6E908E5F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39693" y="5660476"/>
            <a:ext cx="1002857" cy="108000"/>
          </a:xfrm>
          <a:prstGeom prst="rect">
            <a:avLst/>
          </a:prstGeom>
        </p:spPr>
      </p:pic>
      <p:sp>
        <p:nvSpPr>
          <p:cNvPr id="6" name="Zástupný symbol pro číslo snímku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7" name="Zástupný symbol pro zápatí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| 08.11. 2023 | Odborná praxe | GQD-1 | Ondřej Hlaváček</a:t>
            </a:r>
          </a:p>
        </p:txBody>
      </p:sp>
      <p:sp>
        <p:nvSpPr>
          <p:cNvPr id="10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648000"/>
            <a:ext cx="9793288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cs-CZ" noProof="0"/>
              <a:t>Podnadpis</a:t>
            </a:r>
          </a:p>
        </p:txBody>
      </p:sp>
      <p:sp>
        <p:nvSpPr>
          <p:cNvPr id="3" name="Nadpis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cs-CZ" noProof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1010432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Grey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pro číslo snímku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7" name="Zástupný symbol pro zápatí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| 08.11. 2023 | Odborná praxe | GQD-1 | Ondřej Hlaváček</a:t>
            </a:r>
          </a:p>
        </p:txBody>
      </p:sp>
      <p:sp>
        <p:nvSpPr>
          <p:cNvPr id="10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648000"/>
            <a:ext cx="9793288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/>
              <a:t>Podnadpis</a:t>
            </a:r>
          </a:p>
        </p:txBody>
      </p:sp>
      <p:sp>
        <p:nvSpPr>
          <p:cNvPr id="3" name="Nadpis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cs-CZ" noProof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38617632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pro číslo snímku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7" name="Zástupný symbol pro zápatí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| 08.11. 2023 | Odborná praxe | GQD-1 | Ondřej Hlaváček</a:t>
            </a:r>
          </a:p>
        </p:txBody>
      </p:sp>
      <p:sp>
        <p:nvSpPr>
          <p:cNvPr id="10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648000"/>
            <a:ext cx="9793288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cs-CZ" noProof="0"/>
              <a:t>Podnadpis</a:t>
            </a:r>
          </a:p>
        </p:txBody>
      </p:sp>
      <p:sp>
        <p:nvSpPr>
          <p:cNvPr id="3" name="Nadpis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cs-CZ" noProof="0"/>
              <a:t>Nadpis (shrnutí stránky)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276EAF78-408F-7294-6550-165223580FF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41200" y="5659200"/>
            <a:ext cx="1002857" cy="10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7932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BFF7A7E-2F88-BCC5-C055-008483D90682}"/>
              </a:ext>
            </a:extLst>
          </p:cNvPr>
          <p:cNvSpPr/>
          <p:nvPr userDrawn="1"/>
        </p:nvSpPr>
        <p:spPr>
          <a:xfrm>
            <a:off x="0" y="0"/>
            <a:ext cx="5220000" cy="1404000"/>
          </a:xfrm>
          <a:custGeom>
            <a:avLst/>
            <a:gdLst>
              <a:gd name="connsiteX0" fmla="*/ 0 w 5220000"/>
              <a:gd name="connsiteY0" fmla="*/ 0 h 1404000"/>
              <a:gd name="connsiteX1" fmla="*/ 5220000 w 5220000"/>
              <a:gd name="connsiteY1" fmla="*/ 0 h 1404000"/>
              <a:gd name="connsiteX2" fmla="*/ 5220000 w 5220000"/>
              <a:gd name="connsiteY2" fmla="*/ 1404000 h 1404000"/>
              <a:gd name="connsiteX3" fmla="*/ 0 w 5220000"/>
              <a:gd name="connsiteY3" fmla="*/ 1404000 h 1404000"/>
              <a:gd name="connsiteX4" fmla="*/ 0 w 5220000"/>
              <a:gd name="connsiteY4" fmla="*/ 0 h 1404000"/>
              <a:gd name="connsiteX0" fmla="*/ 0 w 5220000"/>
              <a:gd name="connsiteY0" fmla="*/ 0 h 1404000"/>
              <a:gd name="connsiteX1" fmla="*/ 5220000 w 5220000"/>
              <a:gd name="connsiteY1" fmla="*/ 0 h 1404000"/>
              <a:gd name="connsiteX2" fmla="*/ 5220000 w 5220000"/>
              <a:gd name="connsiteY2" fmla="*/ 1404000 h 1404000"/>
              <a:gd name="connsiteX3" fmla="*/ 0 w 5220000"/>
              <a:gd name="connsiteY3" fmla="*/ 1404000 h 1404000"/>
              <a:gd name="connsiteX4" fmla="*/ 0 w 5220000"/>
              <a:gd name="connsiteY4" fmla="*/ 0 h 1404000"/>
              <a:gd name="connsiteX0" fmla="*/ 0 w 5220000"/>
              <a:gd name="connsiteY0" fmla="*/ 0 h 1404000"/>
              <a:gd name="connsiteX1" fmla="*/ 5220000 w 5220000"/>
              <a:gd name="connsiteY1" fmla="*/ 0 h 1404000"/>
              <a:gd name="connsiteX2" fmla="*/ 0 w 5220000"/>
              <a:gd name="connsiteY2" fmla="*/ 1404000 h 1404000"/>
              <a:gd name="connsiteX3" fmla="*/ 0 w 5220000"/>
              <a:gd name="connsiteY3" fmla="*/ 0 h 140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20000" h="1404000">
                <a:moveTo>
                  <a:pt x="0" y="0"/>
                </a:moveTo>
                <a:lnTo>
                  <a:pt x="5220000" y="0"/>
                </a:lnTo>
                <a:lnTo>
                  <a:pt x="0" y="1404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25000"/>
              <a:lumOff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noProof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CBDC93D-8677-8F98-0413-5586CAD9ECEE}"/>
              </a:ext>
            </a:extLst>
          </p:cNvPr>
          <p:cNvSpPr/>
          <p:nvPr userDrawn="1"/>
        </p:nvSpPr>
        <p:spPr>
          <a:xfrm>
            <a:off x="8136000" y="0"/>
            <a:ext cx="2556000" cy="6011863"/>
          </a:xfrm>
          <a:custGeom>
            <a:avLst/>
            <a:gdLst>
              <a:gd name="connsiteX0" fmla="*/ 0 w 2556000"/>
              <a:gd name="connsiteY0" fmla="*/ 0 h 6011863"/>
              <a:gd name="connsiteX1" fmla="*/ 2556000 w 2556000"/>
              <a:gd name="connsiteY1" fmla="*/ 0 h 6011863"/>
              <a:gd name="connsiteX2" fmla="*/ 2556000 w 2556000"/>
              <a:gd name="connsiteY2" fmla="*/ 6011863 h 6011863"/>
              <a:gd name="connsiteX3" fmla="*/ 0 w 2556000"/>
              <a:gd name="connsiteY3" fmla="*/ 6011863 h 6011863"/>
              <a:gd name="connsiteX4" fmla="*/ 0 w 2556000"/>
              <a:gd name="connsiteY4" fmla="*/ 0 h 6011863"/>
              <a:gd name="connsiteX0" fmla="*/ 1600200 w 2556000"/>
              <a:gd name="connsiteY0" fmla="*/ 0 h 6011863"/>
              <a:gd name="connsiteX1" fmla="*/ 2556000 w 2556000"/>
              <a:gd name="connsiteY1" fmla="*/ 0 h 6011863"/>
              <a:gd name="connsiteX2" fmla="*/ 2556000 w 2556000"/>
              <a:gd name="connsiteY2" fmla="*/ 6011863 h 6011863"/>
              <a:gd name="connsiteX3" fmla="*/ 0 w 2556000"/>
              <a:gd name="connsiteY3" fmla="*/ 6011863 h 6011863"/>
              <a:gd name="connsiteX4" fmla="*/ 1600200 w 2556000"/>
              <a:gd name="connsiteY4" fmla="*/ 0 h 6011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6000" h="6011863">
                <a:moveTo>
                  <a:pt x="1600200" y="0"/>
                </a:moveTo>
                <a:lnTo>
                  <a:pt x="2556000" y="0"/>
                </a:lnTo>
                <a:lnTo>
                  <a:pt x="2556000" y="6011863"/>
                </a:lnTo>
                <a:lnTo>
                  <a:pt x="0" y="6011863"/>
                </a:lnTo>
                <a:lnTo>
                  <a:pt x="1600200" y="0"/>
                </a:lnTo>
                <a:close/>
              </a:path>
            </a:pathLst>
          </a:custGeom>
          <a:solidFill>
            <a:schemeClr val="accent1">
              <a:lumMod val="25000"/>
              <a:lumOff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noProof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576F2B00-11F9-05A7-0019-CDAB04333AB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571121" y="5558992"/>
            <a:ext cx="1671429" cy="180000"/>
          </a:xfrm>
          <a:prstGeom prst="rect">
            <a:avLst/>
          </a:prstGeom>
        </p:spPr>
      </p:pic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264"/>
          <a:ext cx="1587" cy="12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9" imgH="398" progId="TCLayout.ActiveDocument.1">
                  <p:embed/>
                </p:oleObj>
              </mc:Choice>
              <mc:Fallback>
                <p:oleObj name="think-cell Slide" r:id="rId5" imgW="399" imgH="398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264"/>
                        <a:ext cx="1587" cy="12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 userDrawn="1">
            <p:ph type="title" hasCustomPrompt="1"/>
          </p:nvPr>
        </p:nvSpPr>
        <p:spPr>
          <a:xfrm>
            <a:off x="449263" y="1314450"/>
            <a:ext cx="7686550" cy="4032250"/>
          </a:xfrm>
        </p:spPr>
        <p:txBody>
          <a:bodyPr anchor="b" anchorCtr="0">
            <a:noAutofit/>
          </a:bodyPr>
          <a:lstStyle>
            <a:lvl1pPr>
              <a:lnSpc>
                <a:spcPts val="6000"/>
              </a:lnSpc>
              <a:defRPr sz="6000" b="0" cap="none" baseline="0">
                <a:solidFill>
                  <a:schemeClr val="tx1"/>
                </a:solidFill>
                <a:latin typeface="SKODA Next Light" panose="020B0304020603020204" pitchFamily="34" charset="0"/>
              </a:defRPr>
            </a:lvl1pPr>
          </a:lstStyle>
          <a:p>
            <a:r>
              <a:rPr lang="cs-CZ" noProof="0"/>
              <a:t>Název</a:t>
            </a:r>
            <a:br>
              <a:rPr lang="cs-CZ" noProof="0"/>
            </a:br>
            <a:r>
              <a:rPr lang="cs-CZ" noProof="0"/>
              <a:t>prezentace</a:t>
            </a:r>
          </a:p>
        </p:txBody>
      </p:sp>
      <p:sp>
        <p:nvSpPr>
          <p:cNvPr id="16" name="Zástupný symbol pro číslo snímku 5"/>
          <p:cNvSpPr>
            <a:spLocks noGrp="1"/>
          </p:cNvSpPr>
          <p:nvPr userDrawn="1">
            <p:ph type="sldNum" sz="quarter" idx="10"/>
          </p:nvPr>
        </p:nvSpPr>
        <p:spPr>
          <a:xfrm>
            <a:off x="449263" y="5776670"/>
            <a:ext cx="269960" cy="180000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22" name="Zástupný symbol pro zápatí 6"/>
          <p:cNvSpPr>
            <a:spLocks noGrp="1"/>
          </p:cNvSpPr>
          <p:nvPr userDrawn="1">
            <p:ph type="ftr" sz="quarter" idx="11"/>
          </p:nvPr>
        </p:nvSpPr>
        <p:spPr>
          <a:xfrm>
            <a:off x="449262" y="5598000"/>
            <a:ext cx="7686737" cy="180000"/>
          </a:xfrm>
          <a:noFill/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1200" b="0" smtClean="0">
                <a:solidFill>
                  <a:schemeClr val="tx1"/>
                </a:solidFill>
                <a:effectLst/>
                <a:latin typeface="SKODA Next Light" panose="020B0304020603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cs-CZ" noProof="0"/>
              <a:t>| 08.11. 2023 | Odborná praxe | GQD-1 | Ondřej Hlaváček</a:t>
            </a:r>
          </a:p>
        </p:txBody>
      </p:sp>
    </p:spTree>
    <p:extLst>
      <p:ext uri="{BB962C8B-B14F-4D97-AF65-F5344CB8AC3E}">
        <p14:creationId xmlns:p14="http://schemas.microsoft.com/office/powerpoint/2010/main" val="1236666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4877CB86-63EE-5524-5FB8-600E3F90AAAF}"/>
              </a:ext>
            </a:extLst>
          </p:cNvPr>
          <p:cNvSpPr/>
          <p:nvPr userDrawn="1"/>
        </p:nvSpPr>
        <p:spPr>
          <a:xfrm>
            <a:off x="0" y="0"/>
            <a:ext cx="6228000" cy="6011863"/>
          </a:xfrm>
          <a:custGeom>
            <a:avLst/>
            <a:gdLst>
              <a:gd name="connsiteX0" fmla="*/ 0 w 6228000"/>
              <a:gd name="connsiteY0" fmla="*/ 0 h 6011863"/>
              <a:gd name="connsiteX1" fmla="*/ 6228000 w 6228000"/>
              <a:gd name="connsiteY1" fmla="*/ 0 h 6011863"/>
              <a:gd name="connsiteX2" fmla="*/ 6228000 w 6228000"/>
              <a:gd name="connsiteY2" fmla="*/ 6011863 h 6011863"/>
              <a:gd name="connsiteX3" fmla="*/ 0 w 6228000"/>
              <a:gd name="connsiteY3" fmla="*/ 6011863 h 6011863"/>
              <a:gd name="connsiteX4" fmla="*/ 0 w 6228000"/>
              <a:gd name="connsiteY4" fmla="*/ 0 h 6011863"/>
              <a:gd name="connsiteX0" fmla="*/ 0 w 6228000"/>
              <a:gd name="connsiteY0" fmla="*/ 0 h 6011863"/>
              <a:gd name="connsiteX1" fmla="*/ 6228000 w 6228000"/>
              <a:gd name="connsiteY1" fmla="*/ 0 h 6011863"/>
              <a:gd name="connsiteX2" fmla="*/ 4608750 w 6228000"/>
              <a:gd name="connsiteY2" fmla="*/ 6011863 h 6011863"/>
              <a:gd name="connsiteX3" fmla="*/ 0 w 6228000"/>
              <a:gd name="connsiteY3" fmla="*/ 6011863 h 6011863"/>
              <a:gd name="connsiteX4" fmla="*/ 0 w 6228000"/>
              <a:gd name="connsiteY4" fmla="*/ 0 h 6011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28000" h="6011863">
                <a:moveTo>
                  <a:pt x="0" y="0"/>
                </a:moveTo>
                <a:lnTo>
                  <a:pt x="6228000" y="0"/>
                </a:lnTo>
                <a:lnTo>
                  <a:pt x="4608750" y="6011863"/>
                </a:lnTo>
                <a:lnTo>
                  <a:pt x="0" y="601186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25000"/>
              <a:lumOff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noProof="0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75261AE5-0C5F-B1E3-2914-16679B5E7F82}"/>
              </a:ext>
            </a:extLst>
          </p:cNvPr>
          <p:cNvSpPr/>
          <p:nvPr userDrawn="1"/>
        </p:nvSpPr>
        <p:spPr>
          <a:xfrm>
            <a:off x="6803813" y="4247863"/>
            <a:ext cx="3888000" cy="1764000"/>
          </a:xfrm>
          <a:custGeom>
            <a:avLst/>
            <a:gdLst>
              <a:gd name="connsiteX0" fmla="*/ 0 w 3888000"/>
              <a:gd name="connsiteY0" fmla="*/ 0 h 1764000"/>
              <a:gd name="connsiteX1" fmla="*/ 3888000 w 3888000"/>
              <a:gd name="connsiteY1" fmla="*/ 0 h 1764000"/>
              <a:gd name="connsiteX2" fmla="*/ 3888000 w 3888000"/>
              <a:gd name="connsiteY2" fmla="*/ 1764000 h 1764000"/>
              <a:gd name="connsiteX3" fmla="*/ 0 w 3888000"/>
              <a:gd name="connsiteY3" fmla="*/ 1764000 h 1764000"/>
              <a:gd name="connsiteX4" fmla="*/ 0 w 3888000"/>
              <a:gd name="connsiteY4" fmla="*/ 0 h 1764000"/>
              <a:gd name="connsiteX0" fmla="*/ 0 w 3888000"/>
              <a:gd name="connsiteY0" fmla="*/ 0 h 1764000"/>
              <a:gd name="connsiteX1" fmla="*/ 3888000 w 3888000"/>
              <a:gd name="connsiteY1" fmla="*/ 0 h 1764000"/>
              <a:gd name="connsiteX2" fmla="*/ 3888000 w 3888000"/>
              <a:gd name="connsiteY2" fmla="*/ 1764000 h 1764000"/>
              <a:gd name="connsiteX3" fmla="*/ 0 w 3888000"/>
              <a:gd name="connsiteY3" fmla="*/ 1764000 h 1764000"/>
              <a:gd name="connsiteX4" fmla="*/ 0 w 3888000"/>
              <a:gd name="connsiteY4" fmla="*/ 0 h 1764000"/>
              <a:gd name="connsiteX0" fmla="*/ 0 w 3888000"/>
              <a:gd name="connsiteY0" fmla="*/ 0 h 1764000"/>
              <a:gd name="connsiteX1" fmla="*/ 3888000 w 3888000"/>
              <a:gd name="connsiteY1" fmla="*/ 0 h 1764000"/>
              <a:gd name="connsiteX2" fmla="*/ 3888000 w 3888000"/>
              <a:gd name="connsiteY2" fmla="*/ 1764000 h 1764000"/>
              <a:gd name="connsiteX3" fmla="*/ 0 w 3888000"/>
              <a:gd name="connsiteY3" fmla="*/ 1764000 h 1764000"/>
              <a:gd name="connsiteX4" fmla="*/ 0 w 3888000"/>
              <a:gd name="connsiteY4" fmla="*/ 0 h 1764000"/>
              <a:gd name="connsiteX0" fmla="*/ 0 w 3888000"/>
              <a:gd name="connsiteY0" fmla="*/ 0 h 1764000"/>
              <a:gd name="connsiteX1" fmla="*/ 3888000 w 3888000"/>
              <a:gd name="connsiteY1" fmla="*/ 0 h 1764000"/>
              <a:gd name="connsiteX2" fmla="*/ 3888000 w 3888000"/>
              <a:gd name="connsiteY2" fmla="*/ 1764000 h 1764000"/>
              <a:gd name="connsiteX3" fmla="*/ 0 w 3888000"/>
              <a:gd name="connsiteY3" fmla="*/ 1764000 h 1764000"/>
              <a:gd name="connsiteX4" fmla="*/ 0 w 3888000"/>
              <a:gd name="connsiteY4" fmla="*/ 0 h 1764000"/>
              <a:gd name="connsiteX0" fmla="*/ 0 w 3888000"/>
              <a:gd name="connsiteY0" fmla="*/ 1764000 h 1764000"/>
              <a:gd name="connsiteX1" fmla="*/ 3888000 w 3888000"/>
              <a:gd name="connsiteY1" fmla="*/ 0 h 1764000"/>
              <a:gd name="connsiteX2" fmla="*/ 3888000 w 3888000"/>
              <a:gd name="connsiteY2" fmla="*/ 1764000 h 1764000"/>
              <a:gd name="connsiteX3" fmla="*/ 0 w 3888000"/>
              <a:gd name="connsiteY3" fmla="*/ 1764000 h 176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88000" h="1764000">
                <a:moveTo>
                  <a:pt x="0" y="1764000"/>
                </a:moveTo>
                <a:lnTo>
                  <a:pt x="3888000" y="0"/>
                </a:lnTo>
                <a:lnTo>
                  <a:pt x="3888000" y="1764000"/>
                </a:lnTo>
                <a:lnTo>
                  <a:pt x="0" y="1764000"/>
                </a:lnTo>
                <a:close/>
              </a:path>
            </a:pathLst>
          </a:custGeom>
          <a:solidFill>
            <a:schemeClr val="accent1">
              <a:lumMod val="25000"/>
              <a:lumOff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noProof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2D0ACEC7-B8BE-6CF6-F447-BD72724DF43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601394" y="0"/>
            <a:ext cx="6090650" cy="6011863"/>
          </a:xfrm>
          <a:custGeom>
            <a:avLst/>
            <a:gdLst>
              <a:gd name="connsiteX0" fmla="*/ 1634355 w 6100763"/>
              <a:gd name="connsiteY0" fmla="*/ 0 h 6011863"/>
              <a:gd name="connsiteX1" fmla="*/ 6100763 w 6100763"/>
              <a:gd name="connsiteY1" fmla="*/ 0 h 6011863"/>
              <a:gd name="connsiteX2" fmla="*/ 6100763 w 6100763"/>
              <a:gd name="connsiteY2" fmla="*/ 4252625 h 6011863"/>
              <a:gd name="connsiteX3" fmla="*/ 2215144 w 6100763"/>
              <a:gd name="connsiteY3" fmla="*/ 6011863 h 6011863"/>
              <a:gd name="connsiteX4" fmla="*/ 0 w 6100763"/>
              <a:gd name="connsiteY4" fmla="*/ 6011863 h 6011863"/>
              <a:gd name="connsiteX5" fmla="*/ 0 w 6100763"/>
              <a:gd name="connsiteY5" fmla="*/ 6011862 h 6011863"/>
              <a:gd name="connsiteX6" fmla="*/ 15106 w 6100763"/>
              <a:gd name="connsiteY6" fmla="*/ 6011862 h 6011863"/>
              <a:gd name="connsiteX0" fmla="*/ 1634355 w 6100763"/>
              <a:gd name="connsiteY0" fmla="*/ 0 h 6011863"/>
              <a:gd name="connsiteX1" fmla="*/ 6100763 w 6100763"/>
              <a:gd name="connsiteY1" fmla="*/ 0 h 6011863"/>
              <a:gd name="connsiteX2" fmla="*/ 6100763 w 6100763"/>
              <a:gd name="connsiteY2" fmla="*/ 4252625 h 6011863"/>
              <a:gd name="connsiteX3" fmla="*/ 2219907 w 6100763"/>
              <a:gd name="connsiteY3" fmla="*/ 6011863 h 6011863"/>
              <a:gd name="connsiteX4" fmla="*/ 0 w 6100763"/>
              <a:gd name="connsiteY4" fmla="*/ 6011863 h 6011863"/>
              <a:gd name="connsiteX5" fmla="*/ 0 w 6100763"/>
              <a:gd name="connsiteY5" fmla="*/ 6011862 h 6011863"/>
              <a:gd name="connsiteX6" fmla="*/ 15106 w 6100763"/>
              <a:gd name="connsiteY6" fmla="*/ 6011862 h 6011863"/>
              <a:gd name="connsiteX7" fmla="*/ 1634355 w 6100763"/>
              <a:gd name="connsiteY7" fmla="*/ 0 h 6011863"/>
              <a:gd name="connsiteX0" fmla="*/ 1634355 w 6100763"/>
              <a:gd name="connsiteY0" fmla="*/ 0 h 6011863"/>
              <a:gd name="connsiteX1" fmla="*/ 6100763 w 6100763"/>
              <a:gd name="connsiteY1" fmla="*/ 0 h 6011863"/>
              <a:gd name="connsiteX2" fmla="*/ 6098382 w 6100763"/>
              <a:gd name="connsiteY2" fmla="*/ 4257388 h 6011863"/>
              <a:gd name="connsiteX3" fmla="*/ 2219907 w 6100763"/>
              <a:gd name="connsiteY3" fmla="*/ 6011863 h 6011863"/>
              <a:gd name="connsiteX4" fmla="*/ 0 w 6100763"/>
              <a:gd name="connsiteY4" fmla="*/ 6011863 h 6011863"/>
              <a:gd name="connsiteX5" fmla="*/ 0 w 6100763"/>
              <a:gd name="connsiteY5" fmla="*/ 6011862 h 6011863"/>
              <a:gd name="connsiteX6" fmla="*/ 15106 w 6100763"/>
              <a:gd name="connsiteY6" fmla="*/ 6011862 h 6011863"/>
              <a:gd name="connsiteX7" fmla="*/ 1634355 w 6100763"/>
              <a:gd name="connsiteY7" fmla="*/ 0 h 6011863"/>
              <a:gd name="connsiteX0" fmla="*/ 1634355 w 6100993"/>
              <a:gd name="connsiteY0" fmla="*/ 0 h 6011863"/>
              <a:gd name="connsiteX1" fmla="*/ 6100763 w 6100993"/>
              <a:gd name="connsiteY1" fmla="*/ 0 h 6011863"/>
              <a:gd name="connsiteX2" fmla="*/ 6100764 w 6100993"/>
              <a:gd name="connsiteY2" fmla="*/ 4255007 h 6011863"/>
              <a:gd name="connsiteX3" fmla="*/ 2219907 w 6100993"/>
              <a:gd name="connsiteY3" fmla="*/ 6011863 h 6011863"/>
              <a:gd name="connsiteX4" fmla="*/ 0 w 6100993"/>
              <a:gd name="connsiteY4" fmla="*/ 6011863 h 6011863"/>
              <a:gd name="connsiteX5" fmla="*/ 0 w 6100993"/>
              <a:gd name="connsiteY5" fmla="*/ 6011862 h 6011863"/>
              <a:gd name="connsiteX6" fmla="*/ 15106 w 6100993"/>
              <a:gd name="connsiteY6" fmla="*/ 6011862 h 6011863"/>
              <a:gd name="connsiteX7" fmla="*/ 1634355 w 6100993"/>
              <a:gd name="connsiteY7" fmla="*/ 0 h 6011863"/>
              <a:gd name="connsiteX0" fmla="*/ 1634355 w 6100993"/>
              <a:gd name="connsiteY0" fmla="*/ 0 h 6011863"/>
              <a:gd name="connsiteX1" fmla="*/ 6100763 w 6100993"/>
              <a:gd name="connsiteY1" fmla="*/ 0 h 6011863"/>
              <a:gd name="connsiteX2" fmla="*/ 6100764 w 6100993"/>
              <a:gd name="connsiteY2" fmla="*/ 4252626 h 6011863"/>
              <a:gd name="connsiteX3" fmla="*/ 2219907 w 6100993"/>
              <a:gd name="connsiteY3" fmla="*/ 6011863 h 6011863"/>
              <a:gd name="connsiteX4" fmla="*/ 0 w 6100993"/>
              <a:gd name="connsiteY4" fmla="*/ 6011863 h 6011863"/>
              <a:gd name="connsiteX5" fmla="*/ 0 w 6100993"/>
              <a:gd name="connsiteY5" fmla="*/ 6011862 h 6011863"/>
              <a:gd name="connsiteX6" fmla="*/ 15106 w 6100993"/>
              <a:gd name="connsiteY6" fmla="*/ 6011862 h 6011863"/>
              <a:gd name="connsiteX7" fmla="*/ 1634355 w 6100993"/>
              <a:gd name="connsiteY7" fmla="*/ 0 h 6011863"/>
              <a:gd name="connsiteX0" fmla="*/ 1634355 w 6100993"/>
              <a:gd name="connsiteY0" fmla="*/ 0 h 6011863"/>
              <a:gd name="connsiteX1" fmla="*/ 6100763 w 6100993"/>
              <a:gd name="connsiteY1" fmla="*/ 0 h 6011863"/>
              <a:gd name="connsiteX2" fmla="*/ 6100764 w 6100993"/>
              <a:gd name="connsiteY2" fmla="*/ 4252626 h 6011863"/>
              <a:gd name="connsiteX3" fmla="*/ 2222288 w 6100993"/>
              <a:gd name="connsiteY3" fmla="*/ 6011863 h 6011863"/>
              <a:gd name="connsiteX4" fmla="*/ 0 w 6100993"/>
              <a:gd name="connsiteY4" fmla="*/ 6011863 h 6011863"/>
              <a:gd name="connsiteX5" fmla="*/ 0 w 6100993"/>
              <a:gd name="connsiteY5" fmla="*/ 6011862 h 6011863"/>
              <a:gd name="connsiteX6" fmla="*/ 15106 w 6100993"/>
              <a:gd name="connsiteY6" fmla="*/ 6011862 h 6011863"/>
              <a:gd name="connsiteX7" fmla="*/ 1634355 w 6100993"/>
              <a:gd name="connsiteY7" fmla="*/ 0 h 6011863"/>
              <a:gd name="connsiteX0" fmla="*/ 1634355 w 6100993"/>
              <a:gd name="connsiteY0" fmla="*/ 0 h 6011863"/>
              <a:gd name="connsiteX1" fmla="*/ 6100763 w 6100993"/>
              <a:gd name="connsiteY1" fmla="*/ 0 h 6011863"/>
              <a:gd name="connsiteX2" fmla="*/ 6100764 w 6100993"/>
              <a:gd name="connsiteY2" fmla="*/ 4252626 h 6011863"/>
              <a:gd name="connsiteX3" fmla="*/ 2222288 w 6100993"/>
              <a:gd name="connsiteY3" fmla="*/ 6011863 h 6011863"/>
              <a:gd name="connsiteX4" fmla="*/ 0 w 6100993"/>
              <a:gd name="connsiteY4" fmla="*/ 6011863 h 6011863"/>
              <a:gd name="connsiteX5" fmla="*/ 0 w 6100993"/>
              <a:gd name="connsiteY5" fmla="*/ 6011862 h 6011863"/>
              <a:gd name="connsiteX6" fmla="*/ 10343 w 6100993"/>
              <a:gd name="connsiteY6" fmla="*/ 6011862 h 6011863"/>
              <a:gd name="connsiteX7" fmla="*/ 1634355 w 6100993"/>
              <a:gd name="connsiteY7" fmla="*/ 0 h 6011863"/>
              <a:gd name="connsiteX0" fmla="*/ 1831999 w 6298637"/>
              <a:gd name="connsiteY0" fmla="*/ 0 h 6090443"/>
              <a:gd name="connsiteX1" fmla="*/ 6298407 w 6298637"/>
              <a:gd name="connsiteY1" fmla="*/ 0 h 6090443"/>
              <a:gd name="connsiteX2" fmla="*/ 6298408 w 6298637"/>
              <a:gd name="connsiteY2" fmla="*/ 4252626 h 6090443"/>
              <a:gd name="connsiteX3" fmla="*/ 2419932 w 6298637"/>
              <a:gd name="connsiteY3" fmla="*/ 6011863 h 6090443"/>
              <a:gd name="connsiteX4" fmla="*/ 197644 w 6298637"/>
              <a:gd name="connsiteY4" fmla="*/ 6011863 h 6090443"/>
              <a:gd name="connsiteX5" fmla="*/ 0 w 6298637"/>
              <a:gd name="connsiteY5" fmla="*/ 6090443 h 6090443"/>
              <a:gd name="connsiteX6" fmla="*/ 207987 w 6298637"/>
              <a:gd name="connsiteY6" fmla="*/ 6011862 h 6090443"/>
              <a:gd name="connsiteX7" fmla="*/ 1831999 w 6298637"/>
              <a:gd name="connsiteY7" fmla="*/ 0 h 6090443"/>
              <a:gd name="connsiteX0" fmla="*/ 1831999 w 6298637"/>
              <a:gd name="connsiteY0" fmla="*/ 0 h 6090443"/>
              <a:gd name="connsiteX1" fmla="*/ 6298407 w 6298637"/>
              <a:gd name="connsiteY1" fmla="*/ 0 h 6090443"/>
              <a:gd name="connsiteX2" fmla="*/ 6298408 w 6298637"/>
              <a:gd name="connsiteY2" fmla="*/ 4252626 h 6090443"/>
              <a:gd name="connsiteX3" fmla="*/ 2419932 w 6298637"/>
              <a:gd name="connsiteY3" fmla="*/ 6011863 h 6090443"/>
              <a:gd name="connsiteX4" fmla="*/ 52388 w 6298637"/>
              <a:gd name="connsiteY4" fmla="*/ 5957094 h 6090443"/>
              <a:gd name="connsiteX5" fmla="*/ 0 w 6298637"/>
              <a:gd name="connsiteY5" fmla="*/ 6090443 h 6090443"/>
              <a:gd name="connsiteX6" fmla="*/ 207987 w 6298637"/>
              <a:gd name="connsiteY6" fmla="*/ 6011862 h 6090443"/>
              <a:gd name="connsiteX7" fmla="*/ 1831999 w 6298637"/>
              <a:gd name="connsiteY7" fmla="*/ 0 h 6090443"/>
              <a:gd name="connsiteX0" fmla="*/ 1831999 w 6298637"/>
              <a:gd name="connsiteY0" fmla="*/ 0 h 6090443"/>
              <a:gd name="connsiteX1" fmla="*/ 6298407 w 6298637"/>
              <a:gd name="connsiteY1" fmla="*/ 0 h 6090443"/>
              <a:gd name="connsiteX2" fmla="*/ 6298408 w 6298637"/>
              <a:gd name="connsiteY2" fmla="*/ 4252626 h 6090443"/>
              <a:gd name="connsiteX3" fmla="*/ 2419932 w 6298637"/>
              <a:gd name="connsiteY3" fmla="*/ 6011863 h 6090443"/>
              <a:gd name="connsiteX4" fmla="*/ 0 w 6298637"/>
              <a:gd name="connsiteY4" fmla="*/ 6090443 h 6090443"/>
              <a:gd name="connsiteX5" fmla="*/ 207987 w 6298637"/>
              <a:gd name="connsiteY5" fmla="*/ 6011862 h 6090443"/>
              <a:gd name="connsiteX6" fmla="*/ 1831999 w 6298637"/>
              <a:gd name="connsiteY6" fmla="*/ 0 h 6090443"/>
              <a:gd name="connsiteX0" fmla="*/ 1624012 w 6090650"/>
              <a:gd name="connsiteY0" fmla="*/ 0 h 6011863"/>
              <a:gd name="connsiteX1" fmla="*/ 6090420 w 6090650"/>
              <a:gd name="connsiteY1" fmla="*/ 0 h 6011863"/>
              <a:gd name="connsiteX2" fmla="*/ 6090421 w 6090650"/>
              <a:gd name="connsiteY2" fmla="*/ 4252626 h 6011863"/>
              <a:gd name="connsiteX3" fmla="*/ 2211945 w 6090650"/>
              <a:gd name="connsiteY3" fmla="*/ 6011863 h 6011863"/>
              <a:gd name="connsiteX4" fmla="*/ 0 w 6090650"/>
              <a:gd name="connsiteY4" fmla="*/ 6011862 h 6011863"/>
              <a:gd name="connsiteX5" fmla="*/ 1624012 w 6090650"/>
              <a:gd name="connsiteY5" fmla="*/ 0 h 6011863"/>
              <a:gd name="connsiteX0" fmla="*/ 1621630 w 6090650"/>
              <a:gd name="connsiteY0" fmla="*/ 0 h 6011863"/>
              <a:gd name="connsiteX1" fmla="*/ 6090420 w 6090650"/>
              <a:gd name="connsiteY1" fmla="*/ 0 h 6011863"/>
              <a:gd name="connsiteX2" fmla="*/ 6090421 w 6090650"/>
              <a:gd name="connsiteY2" fmla="*/ 4252626 h 6011863"/>
              <a:gd name="connsiteX3" fmla="*/ 2211945 w 6090650"/>
              <a:gd name="connsiteY3" fmla="*/ 6011863 h 6011863"/>
              <a:gd name="connsiteX4" fmla="*/ 0 w 6090650"/>
              <a:gd name="connsiteY4" fmla="*/ 6011862 h 6011863"/>
              <a:gd name="connsiteX5" fmla="*/ 1621630 w 6090650"/>
              <a:gd name="connsiteY5" fmla="*/ 0 h 6011863"/>
              <a:gd name="connsiteX0" fmla="*/ 1621630 w 6090650"/>
              <a:gd name="connsiteY0" fmla="*/ 0 h 6014244"/>
              <a:gd name="connsiteX1" fmla="*/ 6090420 w 6090650"/>
              <a:gd name="connsiteY1" fmla="*/ 2381 h 6014244"/>
              <a:gd name="connsiteX2" fmla="*/ 6090421 w 6090650"/>
              <a:gd name="connsiteY2" fmla="*/ 4255007 h 6014244"/>
              <a:gd name="connsiteX3" fmla="*/ 2211945 w 6090650"/>
              <a:gd name="connsiteY3" fmla="*/ 6014244 h 6014244"/>
              <a:gd name="connsiteX4" fmla="*/ 0 w 6090650"/>
              <a:gd name="connsiteY4" fmla="*/ 6014243 h 6014244"/>
              <a:gd name="connsiteX5" fmla="*/ 1621630 w 6090650"/>
              <a:gd name="connsiteY5" fmla="*/ 0 h 6014244"/>
              <a:gd name="connsiteX0" fmla="*/ 1621630 w 6090650"/>
              <a:gd name="connsiteY0" fmla="*/ 0 h 6011863"/>
              <a:gd name="connsiteX1" fmla="*/ 6090420 w 6090650"/>
              <a:gd name="connsiteY1" fmla="*/ 0 h 6011863"/>
              <a:gd name="connsiteX2" fmla="*/ 6090421 w 6090650"/>
              <a:gd name="connsiteY2" fmla="*/ 4252626 h 6011863"/>
              <a:gd name="connsiteX3" fmla="*/ 2211945 w 6090650"/>
              <a:gd name="connsiteY3" fmla="*/ 6011863 h 6011863"/>
              <a:gd name="connsiteX4" fmla="*/ 0 w 6090650"/>
              <a:gd name="connsiteY4" fmla="*/ 6011862 h 6011863"/>
              <a:gd name="connsiteX5" fmla="*/ 1621630 w 6090650"/>
              <a:gd name="connsiteY5" fmla="*/ 0 h 6011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0650" h="6011863">
                <a:moveTo>
                  <a:pt x="1621630" y="0"/>
                </a:moveTo>
                <a:lnTo>
                  <a:pt x="6090420" y="0"/>
                </a:lnTo>
                <a:cubicBezTo>
                  <a:pt x="6089626" y="1419129"/>
                  <a:pt x="6091215" y="2833497"/>
                  <a:pt x="6090421" y="4252626"/>
                </a:cubicBezTo>
                <a:lnTo>
                  <a:pt x="2211945" y="6011863"/>
                </a:lnTo>
                <a:lnTo>
                  <a:pt x="0" y="6011862"/>
                </a:lnTo>
                <a:lnTo>
                  <a:pt x="1621630" y="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marL="0" indent="0" algn="ctr"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cs-CZ" noProof="0"/>
              <a:t>Obrázek</a:t>
            </a:r>
          </a:p>
        </p:txBody>
      </p: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264"/>
          <a:ext cx="1587" cy="12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9" imgH="398" progId="TCLayout.ActiveDocument.1">
                  <p:embed/>
                </p:oleObj>
              </mc:Choice>
              <mc:Fallback>
                <p:oleObj name="think-cell Slide" r:id="rId3" imgW="399" imgH="398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264"/>
                        <a:ext cx="1587" cy="12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 userDrawn="1">
            <p:ph type="title" hasCustomPrompt="1"/>
          </p:nvPr>
        </p:nvSpPr>
        <p:spPr>
          <a:xfrm>
            <a:off x="449263" y="396000"/>
            <a:ext cx="4968876" cy="1403760"/>
          </a:xfrm>
        </p:spPr>
        <p:txBody>
          <a:bodyPr anchor="t" anchorCtr="0">
            <a:noAutofit/>
          </a:bodyPr>
          <a:lstStyle>
            <a:lvl1pPr>
              <a:lnSpc>
                <a:spcPts val="6000"/>
              </a:lnSpc>
              <a:defRPr sz="6000" b="0" cap="none" baseline="0">
                <a:solidFill>
                  <a:schemeClr val="tx1"/>
                </a:solidFill>
                <a:latin typeface="SKODA Next Light" panose="020B0304020603020204" pitchFamily="34" charset="0"/>
              </a:defRPr>
            </a:lvl1pPr>
          </a:lstStyle>
          <a:p>
            <a:r>
              <a:rPr lang="cs-CZ" noProof="0"/>
              <a:t>Název</a:t>
            </a:r>
            <a:br>
              <a:rPr lang="cs-CZ" noProof="0"/>
            </a:br>
            <a:r>
              <a:rPr lang="cs-CZ" noProof="0"/>
              <a:t>prezentace</a:t>
            </a:r>
          </a:p>
        </p:txBody>
      </p:sp>
      <p:sp>
        <p:nvSpPr>
          <p:cNvPr id="19" name="Zástupný symbol pro text 18"/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449263" y="2051999"/>
            <a:ext cx="4824412" cy="1350013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Font typeface="Arial" panose="020B0604020202020204" pitchFamily="34" charset="0"/>
              <a:buNone/>
              <a:defRPr sz="2200">
                <a:solidFill>
                  <a:schemeClr val="tx1"/>
                </a:solidFill>
                <a:latin typeface="SKODA Next Light" panose="020B0304020603020204" pitchFamily="34" charset="0"/>
              </a:defRPr>
            </a:lvl1pPr>
          </a:lstStyle>
          <a:p>
            <a:pPr lvl="0"/>
            <a:r>
              <a:rPr lang="cs-CZ" noProof="0"/>
              <a:t>Dodatečné informace</a:t>
            </a:r>
          </a:p>
        </p:txBody>
      </p:sp>
      <p:sp>
        <p:nvSpPr>
          <p:cNvPr id="16" name="Zástupný symbol pro číslo snímku 5"/>
          <p:cNvSpPr>
            <a:spLocks noGrp="1"/>
          </p:cNvSpPr>
          <p:nvPr userDrawn="1">
            <p:ph type="sldNum" sz="quarter" idx="10"/>
          </p:nvPr>
        </p:nvSpPr>
        <p:spPr>
          <a:xfrm>
            <a:off x="449263" y="5778000"/>
            <a:ext cx="269960" cy="180000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22" name="Zástupný symbol pro zápatí 6"/>
          <p:cNvSpPr>
            <a:spLocks noGrp="1"/>
          </p:cNvSpPr>
          <p:nvPr userDrawn="1">
            <p:ph type="ftr" sz="quarter" idx="11"/>
          </p:nvPr>
        </p:nvSpPr>
        <p:spPr>
          <a:xfrm>
            <a:off x="449262" y="5598000"/>
            <a:ext cx="7686737" cy="180000"/>
          </a:xfrm>
          <a:noFill/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GB" sz="1200" b="0" smtClean="0">
                <a:solidFill>
                  <a:schemeClr val="tx1"/>
                </a:solidFill>
                <a:effectLst/>
                <a:latin typeface="SKODA Next Light" panose="020B0304020603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cs-CZ" noProof="0"/>
              <a:t>| 08.11. 2023 | Odborná praxe | GQD-1 | Ondřej Hlaváček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396F9CE6-900E-D00D-5B2F-DB99803B32C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571121" y="5558992"/>
            <a:ext cx="1671429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7421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387D75E-1DB6-CCAA-28E8-1DCBFB939DCB}"/>
              </a:ext>
            </a:extLst>
          </p:cNvPr>
          <p:cNvSpPr/>
          <p:nvPr userDrawn="1"/>
        </p:nvSpPr>
        <p:spPr>
          <a:xfrm>
            <a:off x="0" y="0"/>
            <a:ext cx="5796000" cy="1548000"/>
          </a:xfrm>
          <a:custGeom>
            <a:avLst/>
            <a:gdLst>
              <a:gd name="connsiteX0" fmla="*/ 0 w 5796000"/>
              <a:gd name="connsiteY0" fmla="*/ 0 h 1548000"/>
              <a:gd name="connsiteX1" fmla="*/ 5796000 w 5796000"/>
              <a:gd name="connsiteY1" fmla="*/ 0 h 1548000"/>
              <a:gd name="connsiteX2" fmla="*/ 5796000 w 5796000"/>
              <a:gd name="connsiteY2" fmla="*/ 1548000 h 1548000"/>
              <a:gd name="connsiteX3" fmla="*/ 0 w 5796000"/>
              <a:gd name="connsiteY3" fmla="*/ 1548000 h 1548000"/>
              <a:gd name="connsiteX4" fmla="*/ 0 w 5796000"/>
              <a:gd name="connsiteY4" fmla="*/ 0 h 1548000"/>
              <a:gd name="connsiteX0" fmla="*/ 0 w 5796000"/>
              <a:gd name="connsiteY0" fmla="*/ 0 h 1548000"/>
              <a:gd name="connsiteX1" fmla="*/ 5796000 w 5796000"/>
              <a:gd name="connsiteY1" fmla="*/ 0 h 1548000"/>
              <a:gd name="connsiteX2" fmla="*/ 5796000 w 5796000"/>
              <a:gd name="connsiteY2" fmla="*/ 1548000 h 1548000"/>
              <a:gd name="connsiteX3" fmla="*/ 0 w 5796000"/>
              <a:gd name="connsiteY3" fmla="*/ 1548000 h 1548000"/>
              <a:gd name="connsiteX4" fmla="*/ 0 w 5796000"/>
              <a:gd name="connsiteY4" fmla="*/ 0 h 1548000"/>
              <a:gd name="connsiteX0" fmla="*/ 0 w 5796000"/>
              <a:gd name="connsiteY0" fmla="*/ 0 h 1548000"/>
              <a:gd name="connsiteX1" fmla="*/ 5796000 w 5796000"/>
              <a:gd name="connsiteY1" fmla="*/ 0 h 1548000"/>
              <a:gd name="connsiteX2" fmla="*/ 5796000 w 5796000"/>
              <a:gd name="connsiteY2" fmla="*/ 1548000 h 1548000"/>
              <a:gd name="connsiteX3" fmla="*/ 0 w 5796000"/>
              <a:gd name="connsiteY3" fmla="*/ 1548000 h 1548000"/>
              <a:gd name="connsiteX4" fmla="*/ 0 w 5796000"/>
              <a:gd name="connsiteY4" fmla="*/ 0 h 1548000"/>
              <a:gd name="connsiteX0" fmla="*/ 0 w 5796000"/>
              <a:gd name="connsiteY0" fmla="*/ 0 h 1548000"/>
              <a:gd name="connsiteX1" fmla="*/ 5796000 w 5796000"/>
              <a:gd name="connsiteY1" fmla="*/ 0 h 1548000"/>
              <a:gd name="connsiteX2" fmla="*/ 5796000 w 5796000"/>
              <a:gd name="connsiteY2" fmla="*/ 1548000 h 1548000"/>
              <a:gd name="connsiteX3" fmla="*/ 0 w 5796000"/>
              <a:gd name="connsiteY3" fmla="*/ 1548000 h 1548000"/>
              <a:gd name="connsiteX4" fmla="*/ 0 w 5796000"/>
              <a:gd name="connsiteY4" fmla="*/ 0 h 1548000"/>
              <a:gd name="connsiteX0" fmla="*/ 0 w 5796000"/>
              <a:gd name="connsiteY0" fmla="*/ 0 h 1548000"/>
              <a:gd name="connsiteX1" fmla="*/ 5796000 w 5796000"/>
              <a:gd name="connsiteY1" fmla="*/ 0 h 1548000"/>
              <a:gd name="connsiteX2" fmla="*/ 0 w 5796000"/>
              <a:gd name="connsiteY2" fmla="*/ 1548000 h 1548000"/>
              <a:gd name="connsiteX3" fmla="*/ 0 w 5796000"/>
              <a:gd name="connsiteY3" fmla="*/ 0 h 154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96000" h="1548000">
                <a:moveTo>
                  <a:pt x="0" y="0"/>
                </a:moveTo>
                <a:lnTo>
                  <a:pt x="5796000" y="0"/>
                </a:lnTo>
                <a:lnTo>
                  <a:pt x="0" y="1548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25000"/>
              <a:lumOff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noProof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5283C61-2372-54D3-1343-FF994CE15C41}"/>
              </a:ext>
            </a:extLst>
          </p:cNvPr>
          <p:cNvSpPr/>
          <p:nvPr userDrawn="1"/>
        </p:nvSpPr>
        <p:spPr>
          <a:xfrm>
            <a:off x="8136000" y="0"/>
            <a:ext cx="2556000" cy="6011863"/>
          </a:xfrm>
          <a:custGeom>
            <a:avLst/>
            <a:gdLst>
              <a:gd name="connsiteX0" fmla="*/ 0 w 2556000"/>
              <a:gd name="connsiteY0" fmla="*/ 0 h 6011863"/>
              <a:gd name="connsiteX1" fmla="*/ 2556000 w 2556000"/>
              <a:gd name="connsiteY1" fmla="*/ 0 h 6011863"/>
              <a:gd name="connsiteX2" fmla="*/ 2556000 w 2556000"/>
              <a:gd name="connsiteY2" fmla="*/ 6011863 h 6011863"/>
              <a:gd name="connsiteX3" fmla="*/ 0 w 2556000"/>
              <a:gd name="connsiteY3" fmla="*/ 6011863 h 6011863"/>
              <a:gd name="connsiteX4" fmla="*/ 0 w 2556000"/>
              <a:gd name="connsiteY4" fmla="*/ 0 h 6011863"/>
              <a:gd name="connsiteX0" fmla="*/ 1607344 w 2556000"/>
              <a:gd name="connsiteY0" fmla="*/ 0 h 6011863"/>
              <a:gd name="connsiteX1" fmla="*/ 2556000 w 2556000"/>
              <a:gd name="connsiteY1" fmla="*/ 0 h 6011863"/>
              <a:gd name="connsiteX2" fmla="*/ 2556000 w 2556000"/>
              <a:gd name="connsiteY2" fmla="*/ 6011863 h 6011863"/>
              <a:gd name="connsiteX3" fmla="*/ 0 w 2556000"/>
              <a:gd name="connsiteY3" fmla="*/ 6011863 h 6011863"/>
              <a:gd name="connsiteX4" fmla="*/ 1607344 w 2556000"/>
              <a:gd name="connsiteY4" fmla="*/ 0 h 6011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6000" h="6011863">
                <a:moveTo>
                  <a:pt x="1607344" y="0"/>
                </a:moveTo>
                <a:lnTo>
                  <a:pt x="2556000" y="0"/>
                </a:lnTo>
                <a:lnTo>
                  <a:pt x="2556000" y="6011863"/>
                </a:lnTo>
                <a:lnTo>
                  <a:pt x="0" y="6011863"/>
                </a:lnTo>
                <a:lnTo>
                  <a:pt x="1607344" y="0"/>
                </a:lnTo>
                <a:close/>
              </a:path>
            </a:pathLst>
          </a:custGeom>
          <a:solidFill>
            <a:schemeClr val="accent1">
              <a:lumMod val="25000"/>
              <a:lumOff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noProof="0"/>
          </a:p>
        </p:txBody>
      </p: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264"/>
          <a:ext cx="1587" cy="12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9" imgH="398" progId="TCLayout.ActiveDocument.1">
                  <p:embed/>
                </p:oleObj>
              </mc:Choice>
              <mc:Fallback>
                <p:oleObj name="think-cell Slide" r:id="rId3" imgW="399" imgH="398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264"/>
                        <a:ext cx="1587" cy="12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 userDrawn="1">
            <p:ph type="title" hasCustomPrompt="1"/>
          </p:nvPr>
        </p:nvSpPr>
        <p:spPr>
          <a:xfrm>
            <a:off x="449262" y="1314450"/>
            <a:ext cx="7686737" cy="4032000"/>
          </a:xfrm>
        </p:spPr>
        <p:txBody>
          <a:bodyPr anchor="b" anchorCtr="0">
            <a:noAutofit/>
          </a:bodyPr>
          <a:lstStyle>
            <a:lvl1pPr>
              <a:lnSpc>
                <a:spcPts val="6000"/>
              </a:lnSpc>
              <a:defRPr sz="6000" b="0" cap="none" baseline="0">
                <a:solidFill>
                  <a:schemeClr val="tx1"/>
                </a:solidFill>
                <a:latin typeface="SKODA Next Light" panose="020B0304020603020204" pitchFamily="34" charset="0"/>
              </a:defRPr>
            </a:lvl1pPr>
          </a:lstStyle>
          <a:p>
            <a:r>
              <a:rPr lang="cs-CZ" noProof="0"/>
              <a:t>Název</a:t>
            </a:r>
            <a:br>
              <a:rPr lang="cs-CZ" noProof="0"/>
            </a:br>
            <a:r>
              <a:rPr lang="cs-CZ" noProof="0"/>
              <a:t>prezentace</a:t>
            </a:r>
          </a:p>
        </p:txBody>
      </p:sp>
      <p:sp>
        <p:nvSpPr>
          <p:cNvPr id="16" name="Zástupný symbol pro číslo snímku 5"/>
          <p:cNvSpPr>
            <a:spLocks noGrp="1"/>
          </p:cNvSpPr>
          <p:nvPr userDrawn="1">
            <p:ph type="sldNum" sz="quarter" idx="10"/>
          </p:nvPr>
        </p:nvSpPr>
        <p:spPr>
          <a:xfrm>
            <a:off x="449262" y="5778000"/>
            <a:ext cx="269960" cy="180000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22" name="Zástupný symbol pro zápatí 6"/>
          <p:cNvSpPr>
            <a:spLocks noGrp="1"/>
          </p:cNvSpPr>
          <p:nvPr userDrawn="1">
            <p:ph type="ftr" sz="quarter" idx="11"/>
          </p:nvPr>
        </p:nvSpPr>
        <p:spPr>
          <a:xfrm>
            <a:off x="449262" y="5598000"/>
            <a:ext cx="7686738" cy="180000"/>
          </a:xfrm>
          <a:noFill/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GB" sz="1200" b="0" smtClean="0">
                <a:solidFill>
                  <a:schemeClr val="tx1"/>
                </a:solidFill>
                <a:effectLst/>
                <a:latin typeface="SKODA Next Light" panose="020B0304020603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cs-CZ" noProof="0"/>
              <a:t>| 08.11. 2023 | Odborná praxe | GQD-1 | Ondřej Hlaváček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FCAE7608-F105-B8C6-CA96-A7279C2B06D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571121" y="5558992"/>
            <a:ext cx="1671429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6058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387D75E-1DB6-CCAA-28E8-1DCBFB939DCB}"/>
              </a:ext>
            </a:extLst>
          </p:cNvPr>
          <p:cNvSpPr/>
          <p:nvPr userDrawn="1"/>
        </p:nvSpPr>
        <p:spPr>
          <a:xfrm>
            <a:off x="0" y="0"/>
            <a:ext cx="5796000" cy="1548000"/>
          </a:xfrm>
          <a:custGeom>
            <a:avLst/>
            <a:gdLst>
              <a:gd name="connsiteX0" fmla="*/ 0 w 5796000"/>
              <a:gd name="connsiteY0" fmla="*/ 0 h 1548000"/>
              <a:gd name="connsiteX1" fmla="*/ 5796000 w 5796000"/>
              <a:gd name="connsiteY1" fmla="*/ 0 h 1548000"/>
              <a:gd name="connsiteX2" fmla="*/ 5796000 w 5796000"/>
              <a:gd name="connsiteY2" fmla="*/ 1548000 h 1548000"/>
              <a:gd name="connsiteX3" fmla="*/ 0 w 5796000"/>
              <a:gd name="connsiteY3" fmla="*/ 1548000 h 1548000"/>
              <a:gd name="connsiteX4" fmla="*/ 0 w 5796000"/>
              <a:gd name="connsiteY4" fmla="*/ 0 h 1548000"/>
              <a:gd name="connsiteX0" fmla="*/ 0 w 5796000"/>
              <a:gd name="connsiteY0" fmla="*/ 0 h 1548000"/>
              <a:gd name="connsiteX1" fmla="*/ 5796000 w 5796000"/>
              <a:gd name="connsiteY1" fmla="*/ 0 h 1548000"/>
              <a:gd name="connsiteX2" fmla="*/ 5796000 w 5796000"/>
              <a:gd name="connsiteY2" fmla="*/ 1548000 h 1548000"/>
              <a:gd name="connsiteX3" fmla="*/ 0 w 5796000"/>
              <a:gd name="connsiteY3" fmla="*/ 1548000 h 1548000"/>
              <a:gd name="connsiteX4" fmla="*/ 0 w 5796000"/>
              <a:gd name="connsiteY4" fmla="*/ 0 h 1548000"/>
              <a:gd name="connsiteX0" fmla="*/ 0 w 5796000"/>
              <a:gd name="connsiteY0" fmla="*/ 0 h 1548000"/>
              <a:gd name="connsiteX1" fmla="*/ 5796000 w 5796000"/>
              <a:gd name="connsiteY1" fmla="*/ 0 h 1548000"/>
              <a:gd name="connsiteX2" fmla="*/ 5796000 w 5796000"/>
              <a:gd name="connsiteY2" fmla="*/ 1548000 h 1548000"/>
              <a:gd name="connsiteX3" fmla="*/ 0 w 5796000"/>
              <a:gd name="connsiteY3" fmla="*/ 1548000 h 1548000"/>
              <a:gd name="connsiteX4" fmla="*/ 0 w 5796000"/>
              <a:gd name="connsiteY4" fmla="*/ 0 h 1548000"/>
              <a:gd name="connsiteX0" fmla="*/ 0 w 5796000"/>
              <a:gd name="connsiteY0" fmla="*/ 0 h 1548000"/>
              <a:gd name="connsiteX1" fmla="*/ 5796000 w 5796000"/>
              <a:gd name="connsiteY1" fmla="*/ 0 h 1548000"/>
              <a:gd name="connsiteX2" fmla="*/ 5796000 w 5796000"/>
              <a:gd name="connsiteY2" fmla="*/ 1548000 h 1548000"/>
              <a:gd name="connsiteX3" fmla="*/ 0 w 5796000"/>
              <a:gd name="connsiteY3" fmla="*/ 1548000 h 1548000"/>
              <a:gd name="connsiteX4" fmla="*/ 0 w 5796000"/>
              <a:gd name="connsiteY4" fmla="*/ 0 h 1548000"/>
              <a:gd name="connsiteX0" fmla="*/ 0 w 5796000"/>
              <a:gd name="connsiteY0" fmla="*/ 0 h 1548000"/>
              <a:gd name="connsiteX1" fmla="*/ 5796000 w 5796000"/>
              <a:gd name="connsiteY1" fmla="*/ 0 h 1548000"/>
              <a:gd name="connsiteX2" fmla="*/ 0 w 5796000"/>
              <a:gd name="connsiteY2" fmla="*/ 1548000 h 1548000"/>
              <a:gd name="connsiteX3" fmla="*/ 0 w 5796000"/>
              <a:gd name="connsiteY3" fmla="*/ 0 h 154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96000" h="1548000">
                <a:moveTo>
                  <a:pt x="0" y="0"/>
                </a:moveTo>
                <a:lnTo>
                  <a:pt x="5796000" y="0"/>
                </a:lnTo>
                <a:lnTo>
                  <a:pt x="0" y="1548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noProof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5283C61-2372-54D3-1343-FF994CE15C41}"/>
              </a:ext>
            </a:extLst>
          </p:cNvPr>
          <p:cNvSpPr/>
          <p:nvPr userDrawn="1"/>
        </p:nvSpPr>
        <p:spPr>
          <a:xfrm>
            <a:off x="8136000" y="0"/>
            <a:ext cx="2556000" cy="6011863"/>
          </a:xfrm>
          <a:custGeom>
            <a:avLst/>
            <a:gdLst>
              <a:gd name="connsiteX0" fmla="*/ 0 w 2556000"/>
              <a:gd name="connsiteY0" fmla="*/ 0 h 6011863"/>
              <a:gd name="connsiteX1" fmla="*/ 2556000 w 2556000"/>
              <a:gd name="connsiteY1" fmla="*/ 0 h 6011863"/>
              <a:gd name="connsiteX2" fmla="*/ 2556000 w 2556000"/>
              <a:gd name="connsiteY2" fmla="*/ 6011863 h 6011863"/>
              <a:gd name="connsiteX3" fmla="*/ 0 w 2556000"/>
              <a:gd name="connsiteY3" fmla="*/ 6011863 h 6011863"/>
              <a:gd name="connsiteX4" fmla="*/ 0 w 2556000"/>
              <a:gd name="connsiteY4" fmla="*/ 0 h 6011863"/>
              <a:gd name="connsiteX0" fmla="*/ 1607344 w 2556000"/>
              <a:gd name="connsiteY0" fmla="*/ 0 h 6011863"/>
              <a:gd name="connsiteX1" fmla="*/ 2556000 w 2556000"/>
              <a:gd name="connsiteY1" fmla="*/ 0 h 6011863"/>
              <a:gd name="connsiteX2" fmla="*/ 2556000 w 2556000"/>
              <a:gd name="connsiteY2" fmla="*/ 6011863 h 6011863"/>
              <a:gd name="connsiteX3" fmla="*/ 0 w 2556000"/>
              <a:gd name="connsiteY3" fmla="*/ 6011863 h 6011863"/>
              <a:gd name="connsiteX4" fmla="*/ 1607344 w 2556000"/>
              <a:gd name="connsiteY4" fmla="*/ 0 h 6011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6000" h="6011863">
                <a:moveTo>
                  <a:pt x="1607344" y="0"/>
                </a:moveTo>
                <a:lnTo>
                  <a:pt x="2556000" y="0"/>
                </a:lnTo>
                <a:lnTo>
                  <a:pt x="2556000" y="6011863"/>
                </a:lnTo>
                <a:lnTo>
                  <a:pt x="0" y="6011863"/>
                </a:lnTo>
                <a:lnTo>
                  <a:pt x="1607344" y="0"/>
                </a:lnTo>
                <a:close/>
              </a:path>
            </a:pathLst>
          </a:cu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noProof="0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E5F3257C-BE2D-4876-B4E7-8461AA05D02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571122" y="5556311"/>
            <a:ext cx="1671428" cy="180000"/>
          </a:xfrm>
          <a:prstGeom prst="rect">
            <a:avLst/>
          </a:prstGeom>
        </p:spPr>
      </p:pic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264"/>
          <a:ext cx="1587" cy="12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99" imgH="398" progId="TCLayout.ActiveDocument.1">
                  <p:embed/>
                </p:oleObj>
              </mc:Choice>
              <mc:Fallback>
                <p:oleObj name="think-cell Slide" r:id="rId6" imgW="399" imgH="398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0" y="1264"/>
                        <a:ext cx="1587" cy="12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 userDrawn="1">
            <p:ph type="title" hasCustomPrompt="1"/>
          </p:nvPr>
        </p:nvSpPr>
        <p:spPr>
          <a:xfrm>
            <a:off x="449262" y="1314450"/>
            <a:ext cx="7686737" cy="4032000"/>
          </a:xfrm>
        </p:spPr>
        <p:txBody>
          <a:bodyPr anchor="b" anchorCtr="0">
            <a:noAutofit/>
          </a:bodyPr>
          <a:lstStyle>
            <a:lvl1pPr>
              <a:lnSpc>
                <a:spcPts val="6000"/>
              </a:lnSpc>
              <a:defRPr sz="6000" b="0" cap="none" baseline="0">
                <a:solidFill>
                  <a:schemeClr val="accent2"/>
                </a:solidFill>
                <a:latin typeface="SKODA Next Light" panose="020B0304020603020204" pitchFamily="34" charset="0"/>
              </a:defRPr>
            </a:lvl1pPr>
          </a:lstStyle>
          <a:p>
            <a:r>
              <a:rPr lang="cs-CZ" noProof="0"/>
              <a:t>Název</a:t>
            </a:r>
            <a:br>
              <a:rPr lang="cs-CZ" noProof="0"/>
            </a:br>
            <a:r>
              <a:rPr lang="cs-CZ" noProof="0"/>
              <a:t>prezentace</a:t>
            </a:r>
          </a:p>
        </p:txBody>
      </p:sp>
      <p:sp>
        <p:nvSpPr>
          <p:cNvPr id="16" name="Zástupný symbol pro číslo snímku 5"/>
          <p:cNvSpPr>
            <a:spLocks noGrp="1"/>
          </p:cNvSpPr>
          <p:nvPr userDrawn="1">
            <p:ph type="sldNum" sz="quarter" idx="10"/>
          </p:nvPr>
        </p:nvSpPr>
        <p:spPr>
          <a:xfrm>
            <a:off x="449262" y="5778000"/>
            <a:ext cx="269960" cy="180000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22" name="Zástupný symbol pro zápatí 6"/>
          <p:cNvSpPr>
            <a:spLocks noGrp="1"/>
          </p:cNvSpPr>
          <p:nvPr userDrawn="1">
            <p:ph type="ftr" sz="quarter" idx="11"/>
          </p:nvPr>
        </p:nvSpPr>
        <p:spPr>
          <a:xfrm>
            <a:off x="449262" y="5598000"/>
            <a:ext cx="7686738" cy="180000"/>
          </a:xfrm>
          <a:noFill/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GB" sz="1200" b="0" smtClean="0">
                <a:solidFill>
                  <a:schemeClr val="accent2"/>
                </a:solidFill>
                <a:effectLst/>
                <a:latin typeface="SKODA Next Light" panose="020B0304020603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cs-CZ" noProof="0"/>
              <a:t>| 08.11. 2023 | Odborná praxe | GQD-1 | Ondřej Hlaváček</a:t>
            </a:r>
          </a:p>
        </p:txBody>
      </p:sp>
    </p:spTree>
    <p:extLst>
      <p:ext uri="{BB962C8B-B14F-4D97-AF65-F5344CB8AC3E}">
        <p14:creationId xmlns:p14="http://schemas.microsoft.com/office/powerpoint/2010/main" val="3146646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xt Chap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264"/>
          <a:ext cx="1587" cy="12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9" imgH="398" progId="TCLayout.ActiveDocument.1">
                  <p:embed/>
                </p:oleObj>
              </mc:Choice>
              <mc:Fallback>
                <p:oleObj name="think-cell Slide" r:id="rId3" imgW="399" imgH="398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264"/>
                        <a:ext cx="1587" cy="12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 userDrawn="1">
            <p:ph type="title" hasCustomPrompt="1"/>
          </p:nvPr>
        </p:nvSpPr>
        <p:spPr>
          <a:xfrm>
            <a:off x="449263" y="1314450"/>
            <a:ext cx="9791194" cy="1620000"/>
          </a:xfrm>
        </p:spPr>
        <p:txBody>
          <a:bodyPr anchor="t" anchorCtr="0">
            <a:noAutofit/>
          </a:bodyPr>
          <a:lstStyle>
            <a:lvl1pPr marL="0" indent="0">
              <a:lnSpc>
                <a:spcPts val="6000"/>
              </a:lnSpc>
              <a:buFont typeface="+mj-lt"/>
              <a:buNone/>
              <a:defRPr sz="6000" b="0" cap="none" baseline="0">
                <a:solidFill>
                  <a:schemeClr val="tx1"/>
                </a:solidFill>
                <a:latin typeface="SKODA Next Light" panose="020B0304020603020204" pitchFamily="34" charset="0"/>
              </a:defRPr>
            </a:lvl1pPr>
          </a:lstStyle>
          <a:p>
            <a:r>
              <a:rPr lang="cs-CZ" noProof="0"/>
              <a:t>1. Kapitola</a:t>
            </a:r>
          </a:p>
        </p:txBody>
      </p:sp>
      <p:sp>
        <p:nvSpPr>
          <p:cNvPr id="11" name="Text Placeholder 19">
            <a:extLst>
              <a:ext uri="{FF2B5EF4-FFF2-40B4-BE49-F238E27FC236}">
                <a16:creationId xmlns:a16="http://schemas.microsoft.com/office/drawing/2014/main" id="{6DE4403A-6787-41E0-C252-174FF53546B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49601" y="3005930"/>
            <a:ext cx="8890856" cy="234077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None/>
              <a:defRPr sz="2000" b="0">
                <a:solidFill>
                  <a:schemeClr val="tx1"/>
                </a:solidFill>
                <a:latin typeface="SKODA Next Light" panose="020B0304020603020204" pitchFamily="34" charset="0"/>
              </a:defRPr>
            </a:lvl1pPr>
          </a:lstStyle>
          <a:p>
            <a:pPr lvl="0"/>
            <a:r>
              <a:rPr lang="cs-CZ" noProof="0"/>
              <a:t>Detaily kapitoly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5DA00B0-72A3-6348-58CB-D5A08617BE18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cs-CZ" noProof="0"/>
              <a:t>| 08.11. 2023 | Odborná praxe | GQD-1 | Ondřej Hlaváček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46914EB-8A13-3435-7731-7287A68E5A2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5E17FF8D-4323-BC84-68FB-8BD86FBE17D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239693" y="5659592"/>
            <a:ext cx="1002857" cy="10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3675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phic 13">
            <a:extLst>
              <a:ext uri="{FF2B5EF4-FFF2-40B4-BE49-F238E27FC236}">
                <a16:creationId xmlns:a16="http://schemas.microsoft.com/office/drawing/2014/main" id="{B8C2D215-3FCB-242D-A235-4DF1AF0721C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41200" y="5659200"/>
            <a:ext cx="1002857" cy="108000"/>
          </a:xfrm>
          <a:prstGeom prst="rect">
            <a:avLst/>
          </a:prstGeom>
        </p:spPr>
      </p:pic>
      <p:sp>
        <p:nvSpPr>
          <p:cNvPr id="20" name="Rectangle 8">
            <a:extLst>
              <a:ext uri="{FF2B5EF4-FFF2-40B4-BE49-F238E27FC236}">
                <a16:creationId xmlns:a16="http://schemas.microsoft.com/office/drawing/2014/main" id="{5459F715-91F7-0B24-F89E-0431C352C5F9}"/>
              </a:ext>
            </a:extLst>
          </p:cNvPr>
          <p:cNvSpPr/>
          <p:nvPr userDrawn="1"/>
        </p:nvSpPr>
        <p:spPr>
          <a:xfrm>
            <a:off x="0" y="-1"/>
            <a:ext cx="7132763" cy="6011863"/>
          </a:xfrm>
          <a:custGeom>
            <a:avLst/>
            <a:gdLst>
              <a:gd name="connsiteX0" fmla="*/ 0 w 7128000"/>
              <a:gd name="connsiteY0" fmla="*/ 0 h 6011863"/>
              <a:gd name="connsiteX1" fmla="*/ 7128000 w 7128000"/>
              <a:gd name="connsiteY1" fmla="*/ 0 h 6011863"/>
              <a:gd name="connsiteX2" fmla="*/ 7128000 w 7128000"/>
              <a:gd name="connsiteY2" fmla="*/ 6011863 h 6011863"/>
              <a:gd name="connsiteX3" fmla="*/ 0 w 7128000"/>
              <a:gd name="connsiteY3" fmla="*/ 6011863 h 6011863"/>
              <a:gd name="connsiteX4" fmla="*/ 0 w 7128000"/>
              <a:gd name="connsiteY4" fmla="*/ 0 h 6011863"/>
              <a:gd name="connsiteX0" fmla="*/ 0 w 7128000"/>
              <a:gd name="connsiteY0" fmla="*/ 0 h 6011863"/>
              <a:gd name="connsiteX1" fmla="*/ 7128000 w 7128000"/>
              <a:gd name="connsiteY1" fmla="*/ 0 h 6011863"/>
              <a:gd name="connsiteX2" fmla="*/ 5537325 w 7128000"/>
              <a:gd name="connsiteY2" fmla="*/ 6011863 h 6011863"/>
              <a:gd name="connsiteX3" fmla="*/ 0 w 7128000"/>
              <a:gd name="connsiteY3" fmla="*/ 6011863 h 6011863"/>
              <a:gd name="connsiteX4" fmla="*/ 0 w 7128000"/>
              <a:gd name="connsiteY4" fmla="*/ 0 h 6011863"/>
              <a:gd name="connsiteX0" fmla="*/ 0 w 7128000"/>
              <a:gd name="connsiteY0" fmla="*/ 0 h 6011863"/>
              <a:gd name="connsiteX1" fmla="*/ 7128000 w 7128000"/>
              <a:gd name="connsiteY1" fmla="*/ 0 h 6011863"/>
              <a:gd name="connsiteX2" fmla="*/ 5544469 w 7128000"/>
              <a:gd name="connsiteY2" fmla="*/ 6011863 h 6011863"/>
              <a:gd name="connsiteX3" fmla="*/ 0 w 7128000"/>
              <a:gd name="connsiteY3" fmla="*/ 6011863 h 6011863"/>
              <a:gd name="connsiteX4" fmla="*/ 0 w 7128000"/>
              <a:gd name="connsiteY4" fmla="*/ 0 h 6011863"/>
              <a:gd name="connsiteX0" fmla="*/ 0 w 7128000"/>
              <a:gd name="connsiteY0" fmla="*/ 0 h 6011863"/>
              <a:gd name="connsiteX1" fmla="*/ 7128000 w 7128000"/>
              <a:gd name="connsiteY1" fmla="*/ 0 h 6011863"/>
              <a:gd name="connsiteX2" fmla="*/ 5546850 w 7128000"/>
              <a:gd name="connsiteY2" fmla="*/ 6011863 h 6011863"/>
              <a:gd name="connsiteX3" fmla="*/ 0 w 7128000"/>
              <a:gd name="connsiteY3" fmla="*/ 6011863 h 6011863"/>
              <a:gd name="connsiteX4" fmla="*/ 0 w 7128000"/>
              <a:gd name="connsiteY4" fmla="*/ 0 h 6011863"/>
              <a:gd name="connsiteX0" fmla="*/ 0 w 7132763"/>
              <a:gd name="connsiteY0" fmla="*/ 0 h 6011863"/>
              <a:gd name="connsiteX1" fmla="*/ 7132763 w 7132763"/>
              <a:gd name="connsiteY1" fmla="*/ 0 h 6011863"/>
              <a:gd name="connsiteX2" fmla="*/ 5546850 w 7132763"/>
              <a:gd name="connsiteY2" fmla="*/ 6011863 h 6011863"/>
              <a:gd name="connsiteX3" fmla="*/ 0 w 7132763"/>
              <a:gd name="connsiteY3" fmla="*/ 6011863 h 6011863"/>
              <a:gd name="connsiteX4" fmla="*/ 0 w 7132763"/>
              <a:gd name="connsiteY4" fmla="*/ 0 h 6011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132763" h="6011863">
                <a:moveTo>
                  <a:pt x="0" y="0"/>
                </a:moveTo>
                <a:lnTo>
                  <a:pt x="7132763" y="0"/>
                </a:lnTo>
                <a:lnTo>
                  <a:pt x="5546850" y="6011863"/>
                </a:lnTo>
                <a:lnTo>
                  <a:pt x="0" y="601186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25000"/>
              <a:lumOff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noProof="0"/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003878D3-764A-09F2-651C-204CDCBB266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544469" y="0"/>
            <a:ext cx="5147304" cy="6011862"/>
          </a:xfrm>
          <a:custGeom>
            <a:avLst/>
            <a:gdLst>
              <a:gd name="connsiteX0" fmla="*/ 4361322 w 5147304"/>
              <a:gd name="connsiteY0" fmla="*/ 5682474 h 6011862"/>
              <a:gd name="connsiteX1" fmla="*/ 4425429 w 5147304"/>
              <a:gd name="connsiteY1" fmla="*/ 5682474 h 6011862"/>
              <a:gd name="connsiteX2" fmla="*/ 4442782 w 5147304"/>
              <a:gd name="connsiteY2" fmla="*/ 5699215 h 6011862"/>
              <a:gd name="connsiteX3" fmla="*/ 4442782 w 5147304"/>
              <a:gd name="connsiteY3" fmla="*/ 5727185 h 6011862"/>
              <a:gd name="connsiteX4" fmla="*/ 4425429 w 5147304"/>
              <a:gd name="connsiteY4" fmla="*/ 5743926 h 6011862"/>
              <a:gd name="connsiteX5" fmla="*/ 4361322 w 5147304"/>
              <a:gd name="connsiteY5" fmla="*/ 5743926 h 6011862"/>
              <a:gd name="connsiteX6" fmla="*/ 4146459 w 5147304"/>
              <a:gd name="connsiteY6" fmla="*/ 5682474 h 6011862"/>
              <a:gd name="connsiteX7" fmla="*/ 4200561 w 5147304"/>
              <a:gd name="connsiteY7" fmla="*/ 5682474 h 6011862"/>
              <a:gd name="connsiteX8" fmla="*/ 4216690 w 5147304"/>
              <a:gd name="connsiteY8" fmla="*/ 5698194 h 6011862"/>
              <a:gd name="connsiteX9" fmla="*/ 4216690 w 5147304"/>
              <a:gd name="connsiteY9" fmla="*/ 5728206 h 6011862"/>
              <a:gd name="connsiteX10" fmla="*/ 4200561 w 5147304"/>
              <a:gd name="connsiteY10" fmla="*/ 5743926 h 6011862"/>
              <a:gd name="connsiteX11" fmla="*/ 4146459 w 5147304"/>
              <a:gd name="connsiteY11" fmla="*/ 5743926 h 6011862"/>
              <a:gd name="connsiteX12" fmla="*/ 4130330 w 5147304"/>
              <a:gd name="connsiteY12" fmla="*/ 5728206 h 6011862"/>
              <a:gd name="connsiteX13" fmla="*/ 4130330 w 5147304"/>
              <a:gd name="connsiteY13" fmla="*/ 5698194 h 6011862"/>
              <a:gd name="connsiteX14" fmla="*/ 4146459 w 5147304"/>
              <a:gd name="connsiteY14" fmla="*/ 5682474 h 6011862"/>
              <a:gd name="connsiteX15" fmla="*/ 4619272 w 5147304"/>
              <a:gd name="connsiteY15" fmla="*/ 5679412 h 6011862"/>
              <a:gd name="connsiteX16" fmla="*/ 4645207 w 5147304"/>
              <a:gd name="connsiteY16" fmla="*/ 5725347 h 6011862"/>
              <a:gd name="connsiteX17" fmla="*/ 4593344 w 5147304"/>
              <a:gd name="connsiteY17" fmla="*/ 5725347 h 6011862"/>
              <a:gd name="connsiteX18" fmla="*/ 4601714 w 5147304"/>
              <a:gd name="connsiteY18" fmla="*/ 5659200 h 6011862"/>
              <a:gd name="connsiteX19" fmla="*/ 4541080 w 5147304"/>
              <a:gd name="connsiteY19" fmla="*/ 5767200 h 6011862"/>
              <a:gd name="connsiteX20" fmla="*/ 4569870 w 5147304"/>
              <a:gd name="connsiteY20" fmla="*/ 5767200 h 6011862"/>
              <a:gd name="connsiteX21" fmla="*/ 4592735 w 5147304"/>
              <a:gd name="connsiteY21" fmla="*/ 5726572 h 6011862"/>
              <a:gd name="connsiteX22" fmla="*/ 4606620 w 5147304"/>
              <a:gd name="connsiteY22" fmla="*/ 5748622 h 6011862"/>
              <a:gd name="connsiteX23" fmla="*/ 4658268 w 5147304"/>
              <a:gd name="connsiteY23" fmla="*/ 5748622 h 6011862"/>
              <a:gd name="connsiteX24" fmla="*/ 4668682 w 5147304"/>
              <a:gd name="connsiteY24" fmla="*/ 5767200 h 6011862"/>
              <a:gd name="connsiteX25" fmla="*/ 4698081 w 5147304"/>
              <a:gd name="connsiteY25" fmla="*/ 5767200 h 6011862"/>
              <a:gd name="connsiteX26" fmla="*/ 4637447 w 5147304"/>
              <a:gd name="connsiteY26" fmla="*/ 5659200 h 6011862"/>
              <a:gd name="connsiteX27" fmla="*/ 4335598 w 5147304"/>
              <a:gd name="connsiteY27" fmla="*/ 5659200 h 6011862"/>
              <a:gd name="connsiteX28" fmla="*/ 4335598 w 5147304"/>
              <a:gd name="connsiteY28" fmla="*/ 5767200 h 6011862"/>
              <a:gd name="connsiteX29" fmla="*/ 4426041 w 5147304"/>
              <a:gd name="connsiteY29" fmla="*/ 5767200 h 6011862"/>
              <a:gd name="connsiteX30" fmla="*/ 4468504 w 5147304"/>
              <a:gd name="connsiteY30" fmla="*/ 5725960 h 6011862"/>
              <a:gd name="connsiteX31" fmla="*/ 4468504 w 5147304"/>
              <a:gd name="connsiteY31" fmla="*/ 5700440 h 6011862"/>
              <a:gd name="connsiteX32" fmla="*/ 4426041 w 5147304"/>
              <a:gd name="connsiteY32" fmla="*/ 5659200 h 6011862"/>
              <a:gd name="connsiteX33" fmla="*/ 4145846 w 5147304"/>
              <a:gd name="connsiteY33" fmla="*/ 5659200 h 6011862"/>
              <a:gd name="connsiteX34" fmla="*/ 4104606 w 5147304"/>
              <a:gd name="connsiteY34" fmla="*/ 5699419 h 6011862"/>
              <a:gd name="connsiteX35" fmla="*/ 4104606 w 5147304"/>
              <a:gd name="connsiteY35" fmla="*/ 5726981 h 6011862"/>
              <a:gd name="connsiteX36" fmla="*/ 4145846 w 5147304"/>
              <a:gd name="connsiteY36" fmla="*/ 5767200 h 6011862"/>
              <a:gd name="connsiteX37" fmla="*/ 4201173 w 5147304"/>
              <a:gd name="connsiteY37" fmla="*/ 5767200 h 6011862"/>
              <a:gd name="connsiteX38" fmla="*/ 4242414 w 5147304"/>
              <a:gd name="connsiteY38" fmla="*/ 5726981 h 6011862"/>
              <a:gd name="connsiteX39" fmla="*/ 4242414 w 5147304"/>
              <a:gd name="connsiteY39" fmla="*/ 5699419 h 6011862"/>
              <a:gd name="connsiteX40" fmla="*/ 4201173 w 5147304"/>
              <a:gd name="connsiteY40" fmla="*/ 5659200 h 6011862"/>
              <a:gd name="connsiteX41" fmla="*/ 3902818 w 5147304"/>
              <a:gd name="connsiteY41" fmla="*/ 5659200 h 6011862"/>
              <a:gd name="connsiteX42" fmla="*/ 3902818 w 5147304"/>
              <a:gd name="connsiteY42" fmla="*/ 5767200 h 6011862"/>
              <a:gd name="connsiteX43" fmla="*/ 3928543 w 5147304"/>
              <a:gd name="connsiteY43" fmla="*/ 5767200 h 6011862"/>
              <a:gd name="connsiteX44" fmla="*/ 3928543 w 5147304"/>
              <a:gd name="connsiteY44" fmla="*/ 5724531 h 6011862"/>
              <a:gd name="connsiteX45" fmla="*/ 3961617 w 5147304"/>
              <a:gd name="connsiteY45" fmla="*/ 5724531 h 6011862"/>
              <a:gd name="connsiteX46" fmla="*/ 4005919 w 5147304"/>
              <a:gd name="connsiteY46" fmla="*/ 5767200 h 6011862"/>
              <a:gd name="connsiteX47" fmla="*/ 4042055 w 5147304"/>
              <a:gd name="connsiteY47" fmla="*/ 5767200 h 6011862"/>
              <a:gd name="connsiteX48" fmla="*/ 3984686 w 5147304"/>
              <a:gd name="connsiteY48" fmla="*/ 5712894 h 6011862"/>
              <a:gd name="connsiteX49" fmla="*/ 4041035 w 5147304"/>
              <a:gd name="connsiteY49" fmla="*/ 5659200 h 6011862"/>
              <a:gd name="connsiteX50" fmla="*/ 4006940 w 5147304"/>
              <a:gd name="connsiteY50" fmla="*/ 5659200 h 6011862"/>
              <a:gd name="connsiteX51" fmla="*/ 3962637 w 5147304"/>
              <a:gd name="connsiteY51" fmla="*/ 5701257 h 6011862"/>
              <a:gd name="connsiteX52" fmla="*/ 3928543 w 5147304"/>
              <a:gd name="connsiteY52" fmla="*/ 5701257 h 6011862"/>
              <a:gd name="connsiteX53" fmla="*/ 3928543 w 5147304"/>
              <a:gd name="connsiteY53" fmla="*/ 5659200 h 6011862"/>
              <a:gd name="connsiteX54" fmla="*/ 3734218 w 5147304"/>
              <a:gd name="connsiteY54" fmla="*/ 5659200 h 6011862"/>
              <a:gd name="connsiteX55" fmla="*/ 3748918 w 5147304"/>
              <a:gd name="connsiteY55" fmla="*/ 5681657 h 6011862"/>
              <a:gd name="connsiteX56" fmla="*/ 3808737 w 5147304"/>
              <a:gd name="connsiteY56" fmla="*/ 5681657 h 6011862"/>
              <a:gd name="connsiteX57" fmla="*/ 3823028 w 5147304"/>
              <a:gd name="connsiteY57" fmla="*/ 5659200 h 6011862"/>
              <a:gd name="connsiteX58" fmla="*/ 3721969 w 5147304"/>
              <a:gd name="connsiteY58" fmla="*/ 5659200 h 6011862"/>
              <a:gd name="connsiteX59" fmla="*/ 3698286 w 5147304"/>
              <a:gd name="connsiteY59" fmla="*/ 5684107 h 6011862"/>
              <a:gd name="connsiteX60" fmla="*/ 3698286 w 5147304"/>
              <a:gd name="connsiteY60" fmla="*/ 5693090 h 6011862"/>
              <a:gd name="connsiteX61" fmla="*/ 3728910 w 5147304"/>
              <a:gd name="connsiteY61" fmla="*/ 5723306 h 6011862"/>
              <a:gd name="connsiteX62" fmla="*/ 3800162 w 5147304"/>
              <a:gd name="connsiteY62" fmla="*/ 5723306 h 6011862"/>
              <a:gd name="connsiteX63" fmla="*/ 3800162 w 5147304"/>
              <a:gd name="connsiteY63" fmla="*/ 5736576 h 6011862"/>
              <a:gd name="connsiteX64" fmla="*/ 3792404 w 5147304"/>
              <a:gd name="connsiteY64" fmla="*/ 5744334 h 6011862"/>
              <a:gd name="connsiteX65" fmla="*/ 3709515 w 5147304"/>
              <a:gd name="connsiteY65" fmla="*/ 5744334 h 6011862"/>
              <a:gd name="connsiteX66" fmla="*/ 3695224 w 5147304"/>
              <a:gd name="connsiteY66" fmla="*/ 5767200 h 6011862"/>
              <a:gd name="connsiteX67" fmla="*/ 3794854 w 5147304"/>
              <a:gd name="connsiteY67" fmla="*/ 5767200 h 6011862"/>
              <a:gd name="connsiteX68" fmla="*/ 3825477 w 5147304"/>
              <a:gd name="connsiteY68" fmla="*/ 5736985 h 6011862"/>
              <a:gd name="connsiteX69" fmla="*/ 3825477 w 5147304"/>
              <a:gd name="connsiteY69" fmla="*/ 5725143 h 6011862"/>
              <a:gd name="connsiteX70" fmla="*/ 3800366 w 5147304"/>
              <a:gd name="connsiteY70" fmla="*/ 5700440 h 6011862"/>
              <a:gd name="connsiteX71" fmla="*/ 3731360 w 5147304"/>
              <a:gd name="connsiteY71" fmla="*/ 5700440 h 6011862"/>
              <a:gd name="connsiteX72" fmla="*/ 3723602 w 5147304"/>
              <a:gd name="connsiteY72" fmla="*/ 5692682 h 6011862"/>
              <a:gd name="connsiteX73" fmla="*/ 3723602 w 5147304"/>
              <a:gd name="connsiteY73" fmla="*/ 5659200 h 6011862"/>
              <a:gd name="connsiteX74" fmla="*/ 1583531 w 5147304"/>
              <a:gd name="connsiteY74" fmla="*/ 0 h 6011862"/>
              <a:gd name="connsiteX75" fmla="*/ 5147304 w 5147304"/>
              <a:gd name="connsiteY75" fmla="*/ 0 h 6011862"/>
              <a:gd name="connsiteX76" fmla="*/ 5147304 w 5147304"/>
              <a:gd name="connsiteY76" fmla="*/ 6011862 h 6011862"/>
              <a:gd name="connsiteX77" fmla="*/ 0 w 5147304"/>
              <a:gd name="connsiteY77" fmla="*/ 6011862 h 60118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</a:cxnLst>
            <a:rect l="l" t="t" r="r" b="b"/>
            <a:pathLst>
              <a:path w="5147304" h="6011862">
                <a:moveTo>
                  <a:pt x="4361322" y="5682474"/>
                </a:moveTo>
                <a:lnTo>
                  <a:pt x="4425429" y="5682474"/>
                </a:lnTo>
                <a:cubicBezTo>
                  <a:pt x="4436045" y="5682474"/>
                  <a:pt x="4442782" y="5689007"/>
                  <a:pt x="4442782" y="5699215"/>
                </a:cubicBezTo>
                <a:lnTo>
                  <a:pt x="4442782" y="5727185"/>
                </a:lnTo>
                <a:cubicBezTo>
                  <a:pt x="4442782" y="5737393"/>
                  <a:pt x="4436045" y="5743926"/>
                  <a:pt x="4425429" y="5743926"/>
                </a:cubicBezTo>
                <a:lnTo>
                  <a:pt x="4361322" y="5743926"/>
                </a:lnTo>
                <a:close/>
                <a:moveTo>
                  <a:pt x="4146459" y="5682474"/>
                </a:moveTo>
                <a:lnTo>
                  <a:pt x="4200561" y="5682474"/>
                </a:lnTo>
                <a:cubicBezTo>
                  <a:pt x="4210360" y="5682474"/>
                  <a:pt x="4216690" y="5688599"/>
                  <a:pt x="4216690" y="5698194"/>
                </a:cubicBezTo>
                <a:lnTo>
                  <a:pt x="4216690" y="5728206"/>
                </a:lnTo>
                <a:cubicBezTo>
                  <a:pt x="4216690" y="5737801"/>
                  <a:pt x="4210361" y="5743926"/>
                  <a:pt x="4200561" y="5743926"/>
                </a:cubicBezTo>
                <a:lnTo>
                  <a:pt x="4146459" y="5743926"/>
                </a:lnTo>
                <a:cubicBezTo>
                  <a:pt x="4136659" y="5743926"/>
                  <a:pt x="4130330" y="5737801"/>
                  <a:pt x="4130330" y="5728206"/>
                </a:cubicBezTo>
                <a:lnTo>
                  <a:pt x="4130330" y="5698194"/>
                </a:lnTo>
                <a:cubicBezTo>
                  <a:pt x="4130330" y="5688599"/>
                  <a:pt x="4136659" y="5682474"/>
                  <a:pt x="4146459" y="5682474"/>
                </a:cubicBezTo>
                <a:close/>
                <a:moveTo>
                  <a:pt x="4619272" y="5679412"/>
                </a:moveTo>
                <a:lnTo>
                  <a:pt x="4645207" y="5725347"/>
                </a:lnTo>
                <a:lnTo>
                  <a:pt x="4593344" y="5725347"/>
                </a:lnTo>
                <a:close/>
                <a:moveTo>
                  <a:pt x="4601714" y="5659200"/>
                </a:moveTo>
                <a:lnTo>
                  <a:pt x="4541080" y="5767200"/>
                </a:lnTo>
                <a:lnTo>
                  <a:pt x="4569870" y="5767200"/>
                </a:lnTo>
                <a:lnTo>
                  <a:pt x="4592735" y="5726572"/>
                </a:lnTo>
                <a:lnTo>
                  <a:pt x="4606620" y="5748622"/>
                </a:lnTo>
                <a:lnTo>
                  <a:pt x="4658268" y="5748622"/>
                </a:lnTo>
                <a:lnTo>
                  <a:pt x="4668682" y="5767200"/>
                </a:lnTo>
                <a:lnTo>
                  <a:pt x="4698081" y="5767200"/>
                </a:lnTo>
                <a:lnTo>
                  <a:pt x="4637447" y="5659200"/>
                </a:lnTo>
                <a:close/>
                <a:moveTo>
                  <a:pt x="4335598" y="5659200"/>
                </a:moveTo>
                <a:lnTo>
                  <a:pt x="4335598" y="5767200"/>
                </a:lnTo>
                <a:lnTo>
                  <a:pt x="4426041" y="5767200"/>
                </a:lnTo>
                <a:cubicBezTo>
                  <a:pt x="4452990" y="5767200"/>
                  <a:pt x="4468504" y="5751684"/>
                  <a:pt x="4468504" y="5725960"/>
                </a:cubicBezTo>
                <a:lnTo>
                  <a:pt x="4468504" y="5700440"/>
                </a:lnTo>
                <a:cubicBezTo>
                  <a:pt x="4468504" y="5674716"/>
                  <a:pt x="4452990" y="5659200"/>
                  <a:pt x="4426041" y="5659200"/>
                </a:cubicBezTo>
                <a:close/>
                <a:moveTo>
                  <a:pt x="4145846" y="5659200"/>
                </a:moveTo>
                <a:cubicBezTo>
                  <a:pt x="4119713" y="5659200"/>
                  <a:pt x="4104606" y="5674308"/>
                  <a:pt x="4104606" y="5699419"/>
                </a:cubicBezTo>
                <a:lnTo>
                  <a:pt x="4104606" y="5726981"/>
                </a:lnTo>
                <a:cubicBezTo>
                  <a:pt x="4104606" y="5752092"/>
                  <a:pt x="4119713" y="5767200"/>
                  <a:pt x="4145846" y="5767200"/>
                </a:cubicBezTo>
                <a:lnTo>
                  <a:pt x="4201173" y="5767200"/>
                </a:lnTo>
                <a:cubicBezTo>
                  <a:pt x="4227305" y="5767200"/>
                  <a:pt x="4242414" y="5752092"/>
                  <a:pt x="4242414" y="5726981"/>
                </a:cubicBezTo>
                <a:lnTo>
                  <a:pt x="4242414" y="5699419"/>
                </a:lnTo>
                <a:cubicBezTo>
                  <a:pt x="4242414" y="5674308"/>
                  <a:pt x="4227306" y="5659200"/>
                  <a:pt x="4201173" y="5659200"/>
                </a:cubicBezTo>
                <a:close/>
                <a:moveTo>
                  <a:pt x="3902818" y="5659200"/>
                </a:moveTo>
                <a:lnTo>
                  <a:pt x="3902818" y="5767200"/>
                </a:lnTo>
                <a:lnTo>
                  <a:pt x="3928543" y="5767200"/>
                </a:lnTo>
                <a:lnTo>
                  <a:pt x="3928543" y="5724531"/>
                </a:lnTo>
                <a:lnTo>
                  <a:pt x="3961617" y="5724531"/>
                </a:lnTo>
                <a:lnTo>
                  <a:pt x="4005919" y="5767200"/>
                </a:lnTo>
                <a:lnTo>
                  <a:pt x="4042055" y="5767200"/>
                </a:lnTo>
                <a:lnTo>
                  <a:pt x="3984686" y="5712894"/>
                </a:lnTo>
                <a:lnTo>
                  <a:pt x="4041035" y="5659200"/>
                </a:lnTo>
                <a:lnTo>
                  <a:pt x="4006940" y="5659200"/>
                </a:lnTo>
                <a:lnTo>
                  <a:pt x="3962637" y="5701257"/>
                </a:lnTo>
                <a:lnTo>
                  <a:pt x="3928543" y="5701257"/>
                </a:lnTo>
                <a:lnTo>
                  <a:pt x="3928543" y="5659200"/>
                </a:lnTo>
                <a:close/>
                <a:moveTo>
                  <a:pt x="3734218" y="5659200"/>
                </a:moveTo>
                <a:lnTo>
                  <a:pt x="3748918" y="5681657"/>
                </a:lnTo>
                <a:lnTo>
                  <a:pt x="3808737" y="5681657"/>
                </a:lnTo>
                <a:lnTo>
                  <a:pt x="3823028" y="5659200"/>
                </a:lnTo>
                <a:close/>
                <a:moveTo>
                  <a:pt x="3721969" y="5659200"/>
                </a:moveTo>
                <a:cubicBezTo>
                  <a:pt x="3707474" y="5659200"/>
                  <a:pt x="3698286" y="5668591"/>
                  <a:pt x="3698286" y="5684107"/>
                </a:cubicBezTo>
                <a:lnTo>
                  <a:pt x="3698286" y="5693090"/>
                </a:lnTo>
                <a:cubicBezTo>
                  <a:pt x="3698286" y="5713915"/>
                  <a:pt x="3707678" y="5723306"/>
                  <a:pt x="3728910" y="5723306"/>
                </a:cubicBezTo>
                <a:lnTo>
                  <a:pt x="3800162" y="5723306"/>
                </a:lnTo>
                <a:lnTo>
                  <a:pt x="3800162" y="5736576"/>
                </a:lnTo>
                <a:cubicBezTo>
                  <a:pt x="3800162" y="5741272"/>
                  <a:pt x="3797100" y="5744334"/>
                  <a:pt x="3792404" y="5744334"/>
                </a:cubicBezTo>
                <a:lnTo>
                  <a:pt x="3709515" y="5744334"/>
                </a:lnTo>
                <a:lnTo>
                  <a:pt x="3695224" y="5767200"/>
                </a:lnTo>
                <a:lnTo>
                  <a:pt x="3794854" y="5767200"/>
                </a:lnTo>
                <a:cubicBezTo>
                  <a:pt x="3815474" y="5767200"/>
                  <a:pt x="3825477" y="5757196"/>
                  <a:pt x="3825477" y="5736985"/>
                </a:cubicBezTo>
                <a:lnTo>
                  <a:pt x="3825477" y="5725143"/>
                </a:lnTo>
                <a:cubicBezTo>
                  <a:pt x="3825477" y="5709831"/>
                  <a:pt x="3816086" y="5700440"/>
                  <a:pt x="3800366" y="5700440"/>
                </a:cubicBezTo>
                <a:lnTo>
                  <a:pt x="3731360" y="5700440"/>
                </a:lnTo>
                <a:cubicBezTo>
                  <a:pt x="3726665" y="5700440"/>
                  <a:pt x="3723602" y="5697378"/>
                  <a:pt x="3723602" y="5692682"/>
                </a:cubicBezTo>
                <a:lnTo>
                  <a:pt x="3723602" y="5659200"/>
                </a:lnTo>
                <a:close/>
                <a:moveTo>
                  <a:pt x="1583531" y="0"/>
                </a:moveTo>
                <a:lnTo>
                  <a:pt x="5147304" y="0"/>
                </a:lnTo>
                <a:lnTo>
                  <a:pt x="5147304" y="6011862"/>
                </a:lnTo>
                <a:lnTo>
                  <a:pt x="0" y="6011862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algn="ctr">
              <a:buFontTx/>
              <a:buNone/>
              <a:defRPr>
                <a:solidFill>
                  <a:schemeClr val="accent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Obrázek</a:t>
            </a:r>
          </a:p>
        </p:txBody>
      </p: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264"/>
          <a:ext cx="1587" cy="12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9" imgH="398" progId="TCLayout.ActiveDocument.1">
                  <p:embed/>
                </p:oleObj>
              </mc:Choice>
              <mc:Fallback>
                <p:oleObj name="think-cell Slide" r:id="rId5" imgW="399" imgH="398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264"/>
                        <a:ext cx="1587" cy="12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 userDrawn="1">
            <p:ph type="title" hasCustomPrompt="1"/>
          </p:nvPr>
        </p:nvSpPr>
        <p:spPr>
          <a:xfrm>
            <a:off x="449263" y="1314450"/>
            <a:ext cx="4968875" cy="2520000"/>
          </a:xfrm>
        </p:spPr>
        <p:txBody>
          <a:bodyPr anchor="t" anchorCtr="0">
            <a:normAutofit/>
          </a:bodyPr>
          <a:lstStyle>
            <a:lvl1pPr>
              <a:lnSpc>
                <a:spcPts val="4000"/>
              </a:lnSpc>
              <a:defRPr sz="4000" b="0" cap="none" baseline="0">
                <a:solidFill>
                  <a:schemeClr val="accent1"/>
                </a:solidFill>
                <a:latin typeface="SKODA Next Light" panose="020B0304020603020204" pitchFamily="34" charset="0"/>
              </a:defRPr>
            </a:lvl1pPr>
          </a:lstStyle>
          <a:p>
            <a:r>
              <a:rPr lang="cs-CZ" noProof="0"/>
              <a:t>Citát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A95BF692-E6D8-7522-3939-8E0A92A62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46000" y="5598000"/>
            <a:ext cx="7289813" cy="18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cs-CZ" noProof="0"/>
              <a:t>| 08.11. 2023 | Odborná praxe | GQD-1 | Ondřej Hlaváček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63C25813-455F-091C-F4E2-B3972C902DC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4D773F9-8A50-B2D5-3B6A-3C8C10261F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4014000"/>
            <a:ext cx="4968000" cy="1332000"/>
          </a:xfrm>
        </p:spPr>
        <p:txBody>
          <a:bodyPr vert="horz" lIns="0" tIns="0" rIns="0" bIns="0" rtlCol="0" anchor="t" anchorCtr="0">
            <a:normAutofit/>
          </a:bodyPr>
          <a:lstStyle>
            <a:lvl1pPr marL="0" indent="0">
              <a:buNone/>
              <a:defRPr lang="en-US" b="0" cap="none" baseline="0" dirty="0" smtClean="0">
                <a:solidFill>
                  <a:schemeClr val="accent1"/>
                </a:solidFill>
              </a:defRPr>
            </a:lvl1pPr>
            <a:lvl2pPr>
              <a:defRPr lang="en-US" sz="2100" dirty="0" smtClean="0">
                <a:latin typeface="+mn-lt"/>
                <a:ea typeface="+mn-ea"/>
                <a:cs typeface="+mn-cs"/>
              </a:defRPr>
            </a:lvl2pPr>
            <a:lvl3pPr>
              <a:defRPr lang="en-US" sz="2100" dirty="0" smtClean="0">
                <a:latin typeface="+mn-lt"/>
                <a:ea typeface="+mn-ea"/>
                <a:cs typeface="+mn-cs"/>
              </a:defRPr>
            </a:lvl3pPr>
            <a:lvl4pPr>
              <a:defRPr lang="en-US" sz="2100" dirty="0" smtClean="0">
                <a:latin typeface="+mn-lt"/>
                <a:ea typeface="+mn-ea"/>
                <a:cs typeface="+mn-cs"/>
              </a:defRPr>
            </a:lvl4pPr>
            <a:lvl5pPr marL="1905487" indent="0">
              <a:buNone/>
              <a:defRPr lang="en-GB" sz="2100" dirty="0">
                <a:latin typeface="+mn-lt"/>
                <a:ea typeface="+mn-ea"/>
                <a:cs typeface="+mn-cs"/>
              </a:defRPr>
            </a:lvl5pPr>
          </a:lstStyle>
          <a:p>
            <a:pPr marL="105750" lvl="0" indent="-285750">
              <a:lnSpc>
                <a:spcPts val="1600"/>
              </a:lnSpc>
              <a:spcBef>
                <a:spcPct val="0"/>
              </a:spcBef>
            </a:pPr>
            <a:r>
              <a:rPr lang="cs-CZ" noProof="0"/>
              <a:t>Škoda Auto</a:t>
            </a:r>
          </a:p>
        </p:txBody>
      </p:sp>
    </p:spTree>
    <p:extLst>
      <p:ext uri="{BB962C8B-B14F-4D97-AF65-F5344CB8AC3E}">
        <p14:creationId xmlns:p14="http://schemas.microsoft.com/office/powerpoint/2010/main" val="2762581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BFF7A7E-2F88-BCC5-C055-008483D90682}"/>
              </a:ext>
            </a:extLst>
          </p:cNvPr>
          <p:cNvSpPr/>
          <p:nvPr userDrawn="1"/>
        </p:nvSpPr>
        <p:spPr>
          <a:xfrm>
            <a:off x="0" y="0"/>
            <a:ext cx="5220000" cy="1404000"/>
          </a:xfrm>
          <a:custGeom>
            <a:avLst/>
            <a:gdLst>
              <a:gd name="connsiteX0" fmla="*/ 0 w 5220000"/>
              <a:gd name="connsiteY0" fmla="*/ 0 h 1404000"/>
              <a:gd name="connsiteX1" fmla="*/ 5220000 w 5220000"/>
              <a:gd name="connsiteY1" fmla="*/ 0 h 1404000"/>
              <a:gd name="connsiteX2" fmla="*/ 5220000 w 5220000"/>
              <a:gd name="connsiteY2" fmla="*/ 1404000 h 1404000"/>
              <a:gd name="connsiteX3" fmla="*/ 0 w 5220000"/>
              <a:gd name="connsiteY3" fmla="*/ 1404000 h 1404000"/>
              <a:gd name="connsiteX4" fmla="*/ 0 w 5220000"/>
              <a:gd name="connsiteY4" fmla="*/ 0 h 1404000"/>
              <a:gd name="connsiteX0" fmla="*/ 0 w 5220000"/>
              <a:gd name="connsiteY0" fmla="*/ 0 h 1404000"/>
              <a:gd name="connsiteX1" fmla="*/ 5220000 w 5220000"/>
              <a:gd name="connsiteY1" fmla="*/ 0 h 1404000"/>
              <a:gd name="connsiteX2" fmla="*/ 5220000 w 5220000"/>
              <a:gd name="connsiteY2" fmla="*/ 1404000 h 1404000"/>
              <a:gd name="connsiteX3" fmla="*/ 0 w 5220000"/>
              <a:gd name="connsiteY3" fmla="*/ 1404000 h 1404000"/>
              <a:gd name="connsiteX4" fmla="*/ 0 w 5220000"/>
              <a:gd name="connsiteY4" fmla="*/ 0 h 1404000"/>
              <a:gd name="connsiteX0" fmla="*/ 0 w 5220000"/>
              <a:gd name="connsiteY0" fmla="*/ 0 h 1404000"/>
              <a:gd name="connsiteX1" fmla="*/ 5220000 w 5220000"/>
              <a:gd name="connsiteY1" fmla="*/ 0 h 1404000"/>
              <a:gd name="connsiteX2" fmla="*/ 0 w 5220000"/>
              <a:gd name="connsiteY2" fmla="*/ 1404000 h 1404000"/>
              <a:gd name="connsiteX3" fmla="*/ 0 w 5220000"/>
              <a:gd name="connsiteY3" fmla="*/ 0 h 140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20000" h="1404000">
                <a:moveTo>
                  <a:pt x="0" y="0"/>
                </a:moveTo>
                <a:lnTo>
                  <a:pt x="5220000" y="0"/>
                </a:lnTo>
                <a:lnTo>
                  <a:pt x="0" y="1404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25000"/>
              <a:lumOff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noProof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CBDC93D-8677-8F98-0413-5586CAD9ECEE}"/>
              </a:ext>
            </a:extLst>
          </p:cNvPr>
          <p:cNvSpPr/>
          <p:nvPr userDrawn="1"/>
        </p:nvSpPr>
        <p:spPr>
          <a:xfrm>
            <a:off x="8136000" y="0"/>
            <a:ext cx="2556000" cy="6011863"/>
          </a:xfrm>
          <a:custGeom>
            <a:avLst/>
            <a:gdLst>
              <a:gd name="connsiteX0" fmla="*/ 0 w 2556000"/>
              <a:gd name="connsiteY0" fmla="*/ 0 h 6011863"/>
              <a:gd name="connsiteX1" fmla="*/ 2556000 w 2556000"/>
              <a:gd name="connsiteY1" fmla="*/ 0 h 6011863"/>
              <a:gd name="connsiteX2" fmla="*/ 2556000 w 2556000"/>
              <a:gd name="connsiteY2" fmla="*/ 6011863 h 6011863"/>
              <a:gd name="connsiteX3" fmla="*/ 0 w 2556000"/>
              <a:gd name="connsiteY3" fmla="*/ 6011863 h 6011863"/>
              <a:gd name="connsiteX4" fmla="*/ 0 w 2556000"/>
              <a:gd name="connsiteY4" fmla="*/ 0 h 6011863"/>
              <a:gd name="connsiteX0" fmla="*/ 1600200 w 2556000"/>
              <a:gd name="connsiteY0" fmla="*/ 0 h 6011863"/>
              <a:gd name="connsiteX1" fmla="*/ 2556000 w 2556000"/>
              <a:gd name="connsiteY1" fmla="*/ 0 h 6011863"/>
              <a:gd name="connsiteX2" fmla="*/ 2556000 w 2556000"/>
              <a:gd name="connsiteY2" fmla="*/ 6011863 h 6011863"/>
              <a:gd name="connsiteX3" fmla="*/ 0 w 2556000"/>
              <a:gd name="connsiteY3" fmla="*/ 6011863 h 6011863"/>
              <a:gd name="connsiteX4" fmla="*/ 1600200 w 2556000"/>
              <a:gd name="connsiteY4" fmla="*/ 0 h 6011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6000" h="6011863">
                <a:moveTo>
                  <a:pt x="1600200" y="0"/>
                </a:moveTo>
                <a:lnTo>
                  <a:pt x="2556000" y="0"/>
                </a:lnTo>
                <a:lnTo>
                  <a:pt x="2556000" y="6011863"/>
                </a:lnTo>
                <a:lnTo>
                  <a:pt x="0" y="6011863"/>
                </a:lnTo>
                <a:lnTo>
                  <a:pt x="1600200" y="0"/>
                </a:lnTo>
                <a:close/>
              </a:path>
            </a:pathLst>
          </a:custGeom>
          <a:solidFill>
            <a:schemeClr val="accent1">
              <a:lumMod val="25000"/>
              <a:lumOff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noProof="0"/>
          </a:p>
        </p:txBody>
      </p: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264"/>
          <a:ext cx="1587" cy="12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9" imgH="398" progId="TCLayout.ActiveDocument.1">
                  <p:embed/>
                </p:oleObj>
              </mc:Choice>
              <mc:Fallback>
                <p:oleObj name="think-cell Slide" r:id="rId3" imgW="399" imgH="398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264"/>
                        <a:ext cx="1587" cy="12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 userDrawn="1">
            <p:ph type="title" hasCustomPrompt="1"/>
          </p:nvPr>
        </p:nvSpPr>
        <p:spPr>
          <a:xfrm>
            <a:off x="449263" y="1926000"/>
            <a:ext cx="7686550" cy="3420000"/>
          </a:xfrm>
        </p:spPr>
        <p:txBody>
          <a:bodyPr anchor="t" anchorCtr="0">
            <a:noAutofit/>
          </a:bodyPr>
          <a:lstStyle>
            <a:lvl1pPr>
              <a:lnSpc>
                <a:spcPts val="8000"/>
              </a:lnSpc>
              <a:defRPr sz="8000" b="0" cap="none" baseline="0">
                <a:solidFill>
                  <a:schemeClr val="accent1"/>
                </a:solidFill>
                <a:latin typeface="SKODA Next Light" panose="020B0304020603020204" pitchFamily="34" charset="0"/>
              </a:defRPr>
            </a:lvl1pPr>
          </a:lstStyle>
          <a:p>
            <a:r>
              <a:rPr lang="cs-CZ" noProof="0"/>
              <a:t>Děkuji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A95BF692-E6D8-7522-3939-8E0A92A62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46000" y="5598000"/>
            <a:ext cx="7289813" cy="18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cs-CZ" noProof="0"/>
              <a:t>| 08.11. 2023 | Odborná praxe | GQD-1 | Ondřej Hlaváček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63C25813-455F-091C-F4E2-B3972C902DC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6BC2BEFD-A572-F137-E343-CB35B300FA3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239693" y="5659592"/>
            <a:ext cx="1002857" cy="10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9812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4">
            <a:extLst>
              <a:ext uri="{FF2B5EF4-FFF2-40B4-BE49-F238E27FC236}">
                <a16:creationId xmlns:a16="http://schemas.microsoft.com/office/drawing/2014/main" id="{A2985358-9CAA-B6FA-88CF-228B2CA9D80F}"/>
              </a:ext>
            </a:extLst>
          </p:cNvPr>
          <p:cNvSpPr/>
          <p:nvPr userDrawn="1"/>
        </p:nvSpPr>
        <p:spPr>
          <a:xfrm>
            <a:off x="0" y="0"/>
            <a:ext cx="3762375" cy="1009650"/>
          </a:xfrm>
          <a:custGeom>
            <a:avLst/>
            <a:gdLst>
              <a:gd name="connsiteX0" fmla="*/ 0 w 5220000"/>
              <a:gd name="connsiteY0" fmla="*/ 0 h 1404000"/>
              <a:gd name="connsiteX1" fmla="*/ 5220000 w 5220000"/>
              <a:gd name="connsiteY1" fmla="*/ 0 h 1404000"/>
              <a:gd name="connsiteX2" fmla="*/ 5220000 w 5220000"/>
              <a:gd name="connsiteY2" fmla="*/ 1404000 h 1404000"/>
              <a:gd name="connsiteX3" fmla="*/ 0 w 5220000"/>
              <a:gd name="connsiteY3" fmla="*/ 1404000 h 1404000"/>
              <a:gd name="connsiteX4" fmla="*/ 0 w 5220000"/>
              <a:gd name="connsiteY4" fmla="*/ 0 h 1404000"/>
              <a:gd name="connsiteX0" fmla="*/ 0 w 5220000"/>
              <a:gd name="connsiteY0" fmla="*/ 0 h 1404000"/>
              <a:gd name="connsiteX1" fmla="*/ 5220000 w 5220000"/>
              <a:gd name="connsiteY1" fmla="*/ 0 h 1404000"/>
              <a:gd name="connsiteX2" fmla="*/ 5220000 w 5220000"/>
              <a:gd name="connsiteY2" fmla="*/ 1404000 h 1404000"/>
              <a:gd name="connsiteX3" fmla="*/ 0 w 5220000"/>
              <a:gd name="connsiteY3" fmla="*/ 1404000 h 1404000"/>
              <a:gd name="connsiteX4" fmla="*/ 0 w 5220000"/>
              <a:gd name="connsiteY4" fmla="*/ 0 h 1404000"/>
              <a:gd name="connsiteX0" fmla="*/ 0 w 5220000"/>
              <a:gd name="connsiteY0" fmla="*/ 0 h 1404000"/>
              <a:gd name="connsiteX1" fmla="*/ 5220000 w 5220000"/>
              <a:gd name="connsiteY1" fmla="*/ 0 h 1404000"/>
              <a:gd name="connsiteX2" fmla="*/ 0 w 5220000"/>
              <a:gd name="connsiteY2" fmla="*/ 1404000 h 1404000"/>
              <a:gd name="connsiteX3" fmla="*/ 0 w 5220000"/>
              <a:gd name="connsiteY3" fmla="*/ 0 h 140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20000" h="1404000">
                <a:moveTo>
                  <a:pt x="0" y="0"/>
                </a:moveTo>
                <a:lnTo>
                  <a:pt x="5220000" y="0"/>
                </a:lnTo>
                <a:lnTo>
                  <a:pt x="0" y="1404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25000"/>
              <a:lumOff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B7243EA-87C5-1D89-7207-56A4E40BAA96}"/>
              </a:ext>
            </a:extLst>
          </p:cNvPr>
          <p:cNvSpPr/>
          <p:nvPr userDrawn="1"/>
        </p:nvSpPr>
        <p:spPr>
          <a:xfrm>
            <a:off x="5544000" y="0"/>
            <a:ext cx="5148000" cy="6011863"/>
          </a:xfrm>
          <a:custGeom>
            <a:avLst/>
            <a:gdLst>
              <a:gd name="connsiteX0" fmla="*/ 0 w 5148000"/>
              <a:gd name="connsiteY0" fmla="*/ 0 h 6011863"/>
              <a:gd name="connsiteX1" fmla="*/ 5148000 w 5148000"/>
              <a:gd name="connsiteY1" fmla="*/ 0 h 6011863"/>
              <a:gd name="connsiteX2" fmla="*/ 5148000 w 5148000"/>
              <a:gd name="connsiteY2" fmla="*/ 6011863 h 6011863"/>
              <a:gd name="connsiteX3" fmla="*/ 0 w 5148000"/>
              <a:gd name="connsiteY3" fmla="*/ 6011863 h 6011863"/>
              <a:gd name="connsiteX4" fmla="*/ 0 w 5148000"/>
              <a:gd name="connsiteY4" fmla="*/ 0 h 6011863"/>
              <a:gd name="connsiteX0" fmla="*/ 1609725 w 5148000"/>
              <a:gd name="connsiteY0" fmla="*/ 0 h 6011863"/>
              <a:gd name="connsiteX1" fmla="*/ 5148000 w 5148000"/>
              <a:gd name="connsiteY1" fmla="*/ 0 h 6011863"/>
              <a:gd name="connsiteX2" fmla="*/ 5148000 w 5148000"/>
              <a:gd name="connsiteY2" fmla="*/ 6011863 h 6011863"/>
              <a:gd name="connsiteX3" fmla="*/ 0 w 5148000"/>
              <a:gd name="connsiteY3" fmla="*/ 6011863 h 6011863"/>
              <a:gd name="connsiteX4" fmla="*/ 1609725 w 5148000"/>
              <a:gd name="connsiteY4" fmla="*/ 0 h 6011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48000" h="6011863">
                <a:moveTo>
                  <a:pt x="1609725" y="0"/>
                </a:moveTo>
                <a:lnTo>
                  <a:pt x="5148000" y="0"/>
                </a:lnTo>
                <a:lnTo>
                  <a:pt x="5148000" y="6011863"/>
                </a:lnTo>
                <a:lnTo>
                  <a:pt x="0" y="6011863"/>
                </a:lnTo>
                <a:lnTo>
                  <a:pt x="1609725" y="0"/>
                </a:lnTo>
                <a:close/>
              </a:path>
            </a:pathLst>
          </a:custGeom>
          <a:solidFill>
            <a:schemeClr val="accent1">
              <a:lumMod val="25000"/>
              <a:lumOff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264"/>
          <a:ext cx="1587" cy="12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9" imgH="398" progId="TCLayout.ActiveDocument.1">
                  <p:embed/>
                </p:oleObj>
              </mc:Choice>
              <mc:Fallback>
                <p:oleObj name="think-cell Slide" r:id="rId3" imgW="399" imgH="398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264"/>
                        <a:ext cx="1587" cy="12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 userDrawn="1">
            <p:ph type="title" hasCustomPrompt="1"/>
          </p:nvPr>
        </p:nvSpPr>
        <p:spPr>
          <a:xfrm>
            <a:off x="449263" y="1314450"/>
            <a:ext cx="5256000" cy="4031550"/>
          </a:xfrm>
        </p:spPr>
        <p:txBody>
          <a:bodyPr anchor="t" anchorCtr="0">
            <a:noAutofit/>
          </a:bodyPr>
          <a:lstStyle>
            <a:lvl1pPr>
              <a:lnSpc>
                <a:spcPts val="6000"/>
              </a:lnSpc>
              <a:defRPr sz="6000" b="0" cap="none" baseline="0">
                <a:solidFill>
                  <a:schemeClr val="accent1"/>
                </a:solidFill>
                <a:latin typeface="SKODA Next Light" panose="020B0304020603020204" pitchFamily="34" charset="0"/>
              </a:defRPr>
            </a:lvl1pPr>
          </a:lstStyle>
          <a:p>
            <a:r>
              <a:rPr lang="cs-CZ" noProof="0"/>
              <a:t>Děkuji</a:t>
            </a:r>
            <a:endParaRPr lang="cs-CZ" noProof="0" dirty="0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BD0962D-1E63-FEDE-6F59-D9BA7276969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434788" y="1314450"/>
            <a:ext cx="1152000" cy="1548000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cs-CZ"/>
              <a:t>Obrázek</a:t>
            </a:r>
            <a:endParaRPr lang="cs-CZ" dirty="0"/>
          </a:p>
        </p:txBody>
      </p:sp>
      <p:sp>
        <p:nvSpPr>
          <p:cNvPr id="18" name="Picture Placeholder 16">
            <a:extLst>
              <a:ext uri="{FF2B5EF4-FFF2-40B4-BE49-F238E27FC236}">
                <a16:creationId xmlns:a16="http://schemas.microsoft.com/office/drawing/2014/main" id="{A153B96D-10A9-DB89-FDE8-61ADD55197E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090550" y="1314450"/>
            <a:ext cx="1152000" cy="1548000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cs-CZ"/>
              <a:t>Obrázek</a:t>
            </a:r>
            <a:endParaRPr lang="cs-CZ" dirty="0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EE0344C5-D699-2FB3-554F-5651999873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434787" y="2970000"/>
            <a:ext cx="1152001" cy="14400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9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cs-CZ" noProof="1"/>
              <a:t>Jméno Příjmení</a:t>
            </a:r>
          </a:p>
        </p:txBody>
      </p:sp>
      <p:sp>
        <p:nvSpPr>
          <p:cNvPr id="21" name="Text Placeholder 19">
            <a:extLst>
              <a:ext uri="{FF2B5EF4-FFF2-40B4-BE49-F238E27FC236}">
                <a16:creationId xmlns:a16="http://schemas.microsoft.com/office/drawing/2014/main" id="{2EF5C1AF-6DA5-ED65-5351-59EBC96FD06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34786" y="3112875"/>
            <a:ext cx="1152001" cy="14400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cs-CZ" noProof="1"/>
              <a:t>Pozice</a:t>
            </a:r>
          </a:p>
        </p:txBody>
      </p:sp>
      <p:sp>
        <p:nvSpPr>
          <p:cNvPr id="22" name="Text Placeholder 19">
            <a:extLst>
              <a:ext uri="{FF2B5EF4-FFF2-40B4-BE49-F238E27FC236}">
                <a16:creationId xmlns:a16="http://schemas.microsoft.com/office/drawing/2014/main" id="{92F09B2E-02DD-B1B0-D4FE-7743F865D39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088456" y="2970000"/>
            <a:ext cx="1152001" cy="14400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9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cs-CZ" noProof="1"/>
              <a:t>Jméno Příjmení</a:t>
            </a:r>
          </a:p>
        </p:txBody>
      </p:sp>
      <p:sp>
        <p:nvSpPr>
          <p:cNvPr id="23" name="Text Placeholder 19">
            <a:extLst>
              <a:ext uri="{FF2B5EF4-FFF2-40B4-BE49-F238E27FC236}">
                <a16:creationId xmlns:a16="http://schemas.microsoft.com/office/drawing/2014/main" id="{49B1DC85-4192-09B6-D800-266CEE24849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88455" y="3112875"/>
            <a:ext cx="1152001" cy="14400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cs-CZ" noProof="1"/>
              <a:t>Pozice</a:t>
            </a:r>
          </a:p>
        </p:txBody>
      </p:sp>
      <p:sp>
        <p:nvSpPr>
          <p:cNvPr id="24" name="Text Placeholder 19">
            <a:extLst>
              <a:ext uri="{FF2B5EF4-FFF2-40B4-BE49-F238E27FC236}">
                <a16:creationId xmlns:a16="http://schemas.microsoft.com/office/drawing/2014/main" id="{ABE8CAFB-0160-0A8F-FB22-C93DDF69CC6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56000" y="4464000"/>
            <a:ext cx="4086000" cy="882000"/>
          </a:xfr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cs-CZ" noProof="1"/>
              <a:t>tř. Václava Klementa 869 Mladá Boleslav II</a:t>
            </a:r>
            <a:br>
              <a:rPr lang="cs-CZ" noProof="1"/>
            </a:br>
            <a:r>
              <a:rPr lang="cs-CZ" noProof="1"/>
              <a:t>293 01 Czech Republic</a:t>
            </a:r>
          </a:p>
        </p:txBody>
      </p:sp>
      <p:sp>
        <p:nvSpPr>
          <p:cNvPr id="25" name="Text Placeholder 19">
            <a:extLst>
              <a:ext uri="{FF2B5EF4-FFF2-40B4-BE49-F238E27FC236}">
                <a16:creationId xmlns:a16="http://schemas.microsoft.com/office/drawing/2014/main" id="{A98C13C5-D07A-AACD-353F-E0DD8400F3D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56550" y="4266000"/>
            <a:ext cx="4086000" cy="198000"/>
          </a:xfr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buNone/>
              <a:defRPr sz="1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cs-CZ" noProof="1"/>
              <a:t>Škoda Auto a.s.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36566C6-F354-0ABD-6A11-3BE97825439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846000" y="5598000"/>
            <a:ext cx="4698000" cy="180000"/>
          </a:xfrm>
        </p:spPr>
        <p:txBody>
          <a:bodyPr>
            <a:norm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cs-CZ"/>
              <a:t>| 08.11. 2023 | Odborná praxe | GQD-1 | Ondřej Hlaváček</a:t>
            </a:r>
            <a:endParaRPr lang="cs-CZ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D216088-5F02-69F6-F3F3-D16FE1E30EFB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821B86D4-9A62-05B9-67E5-682C15BF048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239693" y="5659592"/>
            <a:ext cx="1002857" cy="10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5299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2BC73856-9920-FB4D-1FA1-5AD01A9B1773}"/>
              </a:ext>
            </a:extLst>
          </p:cNvPr>
          <p:cNvSpPr/>
          <p:nvPr userDrawn="1"/>
        </p:nvSpPr>
        <p:spPr>
          <a:xfrm>
            <a:off x="3852000" y="0"/>
            <a:ext cx="6840000" cy="6011863"/>
          </a:xfrm>
          <a:custGeom>
            <a:avLst/>
            <a:gdLst>
              <a:gd name="connsiteX0" fmla="*/ 0 w 6840000"/>
              <a:gd name="connsiteY0" fmla="*/ 0 h 6011863"/>
              <a:gd name="connsiteX1" fmla="*/ 6840000 w 6840000"/>
              <a:gd name="connsiteY1" fmla="*/ 0 h 6011863"/>
              <a:gd name="connsiteX2" fmla="*/ 6840000 w 6840000"/>
              <a:gd name="connsiteY2" fmla="*/ 6011863 h 6011863"/>
              <a:gd name="connsiteX3" fmla="*/ 0 w 6840000"/>
              <a:gd name="connsiteY3" fmla="*/ 6011863 h 6011863"/>
              <a:gd name="connsiteX4" fmla="*/ 0 w 6840000"/>
              <a:gd name="connsiteY4" fmla="*/ 0 h 6011863"/>
              <a:gd name="connsiteX0" fmla="*/ 1602582 w 6840000"/>
              <a:gd name="connsiteY0" fmla="*/ 0 h 6011863"/>
              <a:gd name="connsiteX1" fmla="*/ 6840000 w 6840000"/>
              <a:gd name="connsiteY1" fmla="*/ 0 h 6011863"/>
              <a:gd name="connsiteX2" fmla="*/ 6840000 w 6840000"/>
              <a:gd name="connsiteY2" fmla="*/ 6011863 h 6011863"/>
              <a:gd name="connsiteX3" fmla="*/ 0 w 6840000"/>
              <a:gd name="connsiteY3" fmla="*/ 6011863 h 6011863"/>
              <a:gd name="connsiteX4" fmla="*/ 1602582 w 6840000"/>
              <a:gd name="connsiteY4" fmla="*/ 0 h 6011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40000" h="6011863">
                <a:moveTo>
                  <a:pt x="1602582" y="0"/>
                </a:moveTo>
                <a:lnTo>
                  <a:pt x="6840000" y="0"/>
                </a:lnTo>
                <a:lnTo>
                  <a:pt x="6840000" y="6011863"/>
                </a:lnTo>
                <a:lnTo>
                  <a:pt x="0" y="6011863"/>
                </a:lnTo>
                <a:lnTo>
                  <a:pt x="1602582" y="0"/>
                </a:lnTo>
                <a:close/>
              </a:path>
            </a:pathLst>
          </a:custGeom>
          <a:solidFill>
            <a:schemeClr val="accent1">
              <a:lumMod val="25000"/>
              <a:lumOff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| 08.11. 2023 | Odborná praxe | GQD-1 | Ondřej Hlaváček</a:t>
            </a:r>
            <a:endParaRPr lang="cs-CZ" noProof="0" dirty="0"/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4" y="648000"/>
            <a:ext cx="4680000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/>
              <a:t>Podnadpis</a:t>
            </a:r>
            <a:endParaRPr lang="cs-CZ" noProof="0" dirty="0"/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>
          <a:xfrm>
            <a:off x="449264" y="269875"/>
            <a:ext cx="4680000" cy="360000"/>
          </a:xfrm>
        </p:spPr>
        <p:txBody>
          <a:bodyPr/>
          <a:lstStyle>
            <a:lvl1pPr>
              <a:defRPr/>
            </a:lvl1pPr>
          </a:lstStyle>
          <a:p>
            <a:r>
              <a:rPr lang="cs-CZ" noProof="0"/>
              <a:t>Nadpis (shrnutí stránky)</a:t>
            </a:r>
            <a:endParaRPr lang="cs-CZ" noProof="0" dirty="0"/>
          </a:p>
        </p:txBody>
      </p:sp>
      <p:sp>
        <p:nvSpPr>
          <p:cNvPr id="10" name="Zástupný symbol pro obsah 2"/>
          <p:cNvSpPr>
            <a:spLocks noGrp="1"/>
          </p:cNvSpPr>
          <p:nvPr>
            <p:ph idx="13" hasCustomPrompt="1"/>
          </p:nvPr>
        </p:nvSpPr>
        <p:spPr>
          <a:xfrm>
            <a:off x="5418138" y="269875"/>
            <a:ext cx="4824412" cy="3528125"/>
          </a:xfrm>
        </p:spPr>
        <p:txBody>
          <a:bodyPr anchor="b" anchorCtr="0">
            <a:noAutofit/>
          </a:bodyPr>
          <a:lstStyle>
            <a:lvl1pPr marL="0" indent="0" algn="ctr">
              <a:lnSpc>
                <a:spcPts val="14400"/>
              </a:lnSpc>
              <a:buNone/>
              <a:defRPr sz="14400" baseline="0">
                <a:solidFill>
                  <a:schemeClr val="tx1"/>
                </a:solidFill>
                <a:latin typeface="SKODA Next Light" panose="020B0304020603020204" pitchFamily="34" charset="0"/>
              </a:defRPr>
            </a:lvl1pPr>
            <a:lvl2pPr marL="180000" indent="0">
              <a:buNone/>
              <a:defRPr>
                <a:latin typeface="SKODA Next" panose="020B0504020603020204" pitchFamily="34" charset="0"/>
              </a:defRPr>
            </a:lvl2pPr>
            <a:lvl3pPr marL="360000" indent="0">
              <a:buNone/>
              <a:defRPr>
                <a:latin typeface="SKODA Next" panose="020B0504020603020204" pitchFamily="34" charset="0"/>
              </a:defRPr>
            </a:lvl3pPr>
            <a:lvl4pPr marL="540000" indent="0">
              <a:buNone/>
              <a:defRPr>
                <a:latin typeface="SKODA Next" panose="020B0504020603020204" pitchFamily="34" charset="0"/>
              </a:defRPr>
            </a:lvl4pPr>
            <a:lvl5pPr marL="720000" indent="0">
              <a:buNone/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1"/>
              <a:t>Číslo</a:t>
            </a:r>
          </a:p>
        </p:txBody>
      </p:sp>
      <p:sp>
        <p:nvSpPr>
          <p:cNvPr id="5" name="Zástupný symbol pro obsah 2">
            <a:extLst>
              <a:ext uri="{FF2B5EF4-FFF2-40B4-BE49-F238E27FC236}">
                <a16:creationId xmlns:a16="http://schemas.microsoft.com/office/drawing/2014/main" id="{3471EC78-B29A-0B43-3BBF-4728093475C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49264" y="1314450"/>
            <a:ext cx="3456000" cy="4032250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13" name="Zástupný symbol pro text 8">
            <a:extLst>
              <a:ext uri="{FF2B5EF4-FFF2-40B4-BE49-F238E27FC236}">
                <a16:creationId xmlns:a16="http://schemas.microsoft.com/office/drawing/2014/main" id="{2B865885-2219-05BC-D8B6-4695396A63F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18139" y="3798001"/>
            <a:ext cx="4824412" cy="2880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  <a:lvl2pPr marL="180000" indent="0">
              <a:buNone/>
              <a:defRPr>
                <a:solidFill>
                  <a:schemeClr val="accent2"/>
                </a:solidFill>
                <a:latin typeface="SKODA Next" panose="020B0504020603020204" pitchFamily="34" charset="0"/>
              </a:defRPr>
            </a:lvl2pPr>
            <a:lvl3pPr marL="360000" indent="0">
              <a:buNone/>
              <a:defRPr>
                <a:solidFill>
                  <a:schemeClr val="accent2"/>
                </a:solidFill>
                <a:latin typeface="SKODA Next" panose="020B0504020603020204" pitchFamily="34" charset="0"/>
              </a:defRPr>
            </a:lvl3pPr>
            <a:lvl4pPr marL="540000" indent="0">
              <a:buNone/>
              <a:defRPr>
                <a:solidFill>
                  <a:schemeClr val="accent2"/>
                </a:solidFill>
                <a:latin typeface="SKODA Next" panose="020B0504020603020204" pitchFamily="34" charset="0"/>
              </a:defRPr>
            </a:lvl4pPr>
            <a:lvl5pPr marL="720000" indent="0">
              <a:buNone/>
              <a:defRPr>
                <a:solidFill>
                  <a:schemeClr val="accent2"/>
                </a:solidFill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/>
              <a:t>Detail čísla</a:t>
            </a:r>
            <a:endParaRPr lang="cs-CZ" noProof="0" dirty="0"/>
          </a:p>
        </p:txBody>
      </p:sp>
      <p:sp>
        <p:nvSpPr>
          <p:cNvPr id="14" name="Zástupný symbol pro obrázek 10">
            <a:extLst>
              <a:ext uri="{FF2B5EF4-FFF2-40B4-BE49-F238E27FC236}">
                <a16:creationId xmlns:a16="http://schemas.microsoft.com/office/drawing/2014/main" id="{86DAE072-2452-AB7D-161C-6E9AB85BBE6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398345" y="4302000"/>
            <a:ext cx="864000" cy="432000"/>
          </a:xfrm>
        </p:spPr>
        <p:txBody>
          <a:bodyPr/>
          <a:lstStyle>
            <a:lvl1pPr algn="ctr">
              <a:buFontTx/>
              <a:buNone/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Obr</a:t>
            </a:r>
            <a:endParaRPr lang="cs-CZ" noProof="0" dirty="0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E8BF956C-8FAD-9E72-CC1E-ABF17F49162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39693" y="5659592"/>
            <a:ext cx="1002857" cy="10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4044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B6C15D4D-B0E1-E0BD-A36D-4EB0521FEB47}"/>
              </a:ext>
            </a:extLst>
          </p:cNvPr>
          <p:cNvSpPr/>
          <p:nvPr userDrawn="1"/>
        </p:nvSpPr>
        <p:spPr>
          <a:xfrm>
            <a:off x="5418138" y="0"/>
            <a:ext cx="5273675" cy="6011863"/>
          </a:xfrm>
          <a:prstGeom prst="rect">
            <a:avLst/>
          </a:prstGeom>
          <a:solidFill>
            <a:schemeClr val="accent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noProof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| 08.11. 2023 | Odborná praxe | GQD-1 | Ondřej Hlaváček</a:t>
            </a:r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6929438" y="1314450"/>
            <a:ext cx="2250375" cy="3060000"/>
          </a:xfrm>
        </p:spPr>
        <p:txBody>
          <a:bodyPr/>
          <a:lstStyle>
            <a:lvl1pPr algn="ctr">
              <a:buFontTx/>
              <a:buNone/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Obrázek</a:t>
            </a:r>
          </a:p>
        </p:txBody>
      </p:sp>
      <p:sp>
        <p:nvSpPr>
          <p:cNvPr id="15" name="Zástupný symbol pro text 28"/>
          <p:cNvSpPr>
            <a:spLocks noGrp="1"/>
          </p:cNvSpPr>
          <p:nvPr>
            <p:ph type="body" sz="quarter" idx="14" hasCustomPrompt="1"/>
          </p:nvPr>
        </p:nvSpPr>
        <p:spPr>
          <a:xfrm>
            <a:off x="449264" y="648000"/>
            <a:ext cx="4824412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/>
              <a:t>Podnadpis</a:t>
            </a:r>
          </a:p>
        </p:txBody>
      </p:sp>
      <p:sp>
        <p:nvSpPr>
          <p:cNvPr id="4" name="Nadpis 3"/>
          <p:cNvSpPr>
            <a:spLocks noGrp="1"/>
          </p:cNvSpPr>
          <p:nvPr>
            <p:ph type="title" hasCustomPrompt="1"/>
          </p:nvPr>
        </p:nvSpPr>
        <p:spPr>
          <a:xfrm>
            <a:off x="449264" y="269875"/>
            <a:ext cx="4824412" cy="360000"/>
          </a:xfrm>
        </p:spPr>
        <p:txBody>
          <a:bodyPr/>
          <a:lstStyle>
            <a:lvl1pPr>
              <a:defRPr/>
            </a:lvl1pPr>
          </a:lstStyle>
          <a:p>
            <a:r>
              <a:rPr lang="cs-CZ" noProof="0"/>
              <a:t>Nadpis (shrnutí stránky)</a:t>
            </a:r>
          </a:p>
        </p:txBody>
      </p:sp>
      <p:sp>
        <p:nvSpPr>
          <p:cNvPr id="16" name="Zástupný symbol pro obsah 2">
            <a:extLst>
              <a:ext uri="{FF2B5EF4-FFF2-40B4-BE49-F238E27FC236}">
                <a16:creationId xmlns:a16="http://schemas.microsoft.com/office/drawing/2014/main" id="{340CA0B5-574E-883F-7589-CDD3F13CBEE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49264" y="1314450"/>
            <a:ext cx="4824412" cy="4032250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/>
              <a:t>První úroveň</a:t>
            </a:r>
          </a:p>
          <a:p>
            <a:pPr lvl="1"/>
            <a:r>
              <a:rPr lang="cs-CZ" noProof="0"/>
              <a:t>Druhá úroveň</a:t>
            </a:r>
          </a:p>
          <a:p>
            <a:pPr lvl="2"/>
            <a:r>
              <a:rPr lang="cs-CZ" noProof="0"/>
              <a:t>Třetí úroveň</a:t>
            </a:r>
          </a:p>
          <a:p>
            <a:pPr lvl="3"/>
            <a:r>
              <a:rPr lang="cs-CZ" noProof="0"/>
              <a:t>Čtvrtá úroveň</a:t>
            </a:r>
          </a:p>
          <a:p>
            <a:pPr lvl="4"/>
            <a:r>
              <a:rPr lang="cs-CZ" noProof="0"/>
              <a:t>Pátá úroveň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FACACA75-AD0A-EDF6-E389-5EACE03771B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39693" y="5659592"/>
            <a:ext cx="1002857" cy="10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341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ets Mobi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2BC73856-9920-FB4D-1FA1-5AD01A9B1773}"/>
              </a:ext>
            </a:extLst>
          </p:cNvPr>
          <p:cNvSpPr/>
          <p:nvPr userDrawn="1"/>
        </p:nvSpPr>
        <p:spPr>
          <a:xfrm>
            <a:off x="4111557" y="0"/>
            <a:ext cx="6580443" cy="6011863"/>
          </a:xfrm>
          <a:custGeom>
            <a:avLst/>
            <a:gdLst>
              <a:gd name="connsiteX0" fmla="*/ 0 w 6840000"/>
              <a:gd name="connsiteY0" fmla="*/ 0 h 6011863"/>
              <a:gd name="connsiteX1" fmla="*/ 6840000 w 6840000"/>
              <a:gd name="connsiteY1" fmla="*/ 0 h 6011863"/>
              <a:gd name="connsiteX2" fmla="*/ 6840000 w 6840000"/>
              <a:gd name="connsiteY2" fmla="*/ 6011863 h 6011863"/>
              <a:gd name="connsiteX3" fmla="*/ 0 w 6840000"/>
              <a:gd name="connsiteY3" fmla="*/ 6011863 h 6011863"/>
              <a:gd name="connsiteX4" fmla="*/ 0 w 6840000"/>
              <a:gd name="connsiteY4" fmla="*/ 0 h 6011863"/>
              <a:gd name="connsiteX0" fmla="*/ 1602582 w 6840000"/>
              <a:gd name="connsiteY0" fmla="*/ 0 h 6011863"/>
              <a:gd name="connsiteX1" fmla="*/ 6840000 w 6840000"/>
              <a:gd name="connsiteY1" fmla="*/ 0 h 6011863"/>
              <a:gd name="connsiteX2" fmla="*/ 6840000 w 6840000"/>
              <a:gd name="connsiteY2" fmla="*/ 6011863 h 6011863"/>
              <a:gd name="connsiteX3" fmla="*/ 0 w 6840000"/>
              <a:gd name="connsiteY3" fmla="*/ 6011863 h 6011863"/>
              <a:gd name="connsiteX4" fmla="*/ 1602582 w 6840000"/>
              <a:gd name="connsiteY4" fmla="*/ 0 h 6011863"/>
              <a:gd name="connsiteX0" fmla="*/ 1869282 w 6840000"/>
              <a:gd name="connsiteY0" fmla="*/ 0 h 6011863"/>
              <a:gd name="connsiteX1" fmla="*/ 6840000 w 6840000"/>
              <a:gd name="connsiteY1" fmla="*/ 0 h 6011863"/>
              <a:gd name="connsiteX2" fmla="*/ 6840000 w 6840000"/>
              <a:gd name="connsiteY2" fmla="*/ 6011863 h 6011863"/>
              <a:gd name="connsiteX3" fmla="*/ 0 w 6840000"/>
              <a:gd name="connsiteY3" fmla="*/ 6011863 h 6011863"/>
              <a:gd name="connsiteX4" fmla="*/ 1869282 w 6840000"/>
              <a:gd name="connsiteY4" fmla="*/ 0 h 6011863"/>
              <a:gd name="connsiteX0" fmla="*/ 1609725 w 6580443"/>
              <a:gd name="connsiteY0" fmla="*/ 0 h 6011863"/>
              <a:gd name="connsiteX1" fmla="*/ 6580443 w 6580443"/>
              <a:gd name="connsiteY1" fmla="*/ 0 h 6011863"/>
              <a:gd name="connsiteX2" fmla="*/ 6580443 w 6580443"/>
              <a:gd name="connsiteY2" fmla="*/ 6011863 h 6011863"/>
              <a:gd name="connsiteX3" fmla="*/ 0 w 6580443"/>
              <a:gd name="connsiteY3" fmla="*/ 6011863 h 6011863"/>
              <a:gd name="connsiteX4" fmla="*/ 1609725 w 6580443"/>
              <a:gd name="connsiteY4" fmla="*/ 0 h 6011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80443" h="6011863">
                <a:moveTo>
                  <a:pt x="1609725" y="0"/>
                </a:moveTo>
                <a:lnTo>
                  <a:pt x="6580443" y="0"/>
                </a:lnTo>
                <a:lnTo>
                  <a:pt x="6580443" y="6011863"/>
                </a:lnTo>
                <a:lnTo>
                  <a:pt x="0" y="6011863"/>
                </a:lnTo>
                <a:lnTo>
                  <a:pt x="1609725" y="0"/>
                </a:lnTo>
                <a:close/>
              </a:path>
            </a:pathLst>
          </a:cu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noProof="0"/>
          </a:p>
        </p:txBody>
      </p:sp>
      <p:pic>
        <p:nvPicPr>
          <p:cNvPr id="2" name="Picture 1" descr="A black smartphone with a green screen&#10;&#10;Description automatically generated with low confidence">
            <a:extLst>
              <a:ext uri="{FF2B5EF4-FFF2-40B4-BE49-F238E27FC236}">
                <a16:creationId xmlns:a16="http://schemas.microsoft.com/office/drawing/2014/main" id="{FB079381-B007-27B5-FF2B-BD7E2735274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7942" y="873342"/>
            <a:ext cx="2261882" cy="4380510"/>
          </a:xfrm>
          <a:prstGeom prst="rect">
            <a:avLst/>
          </a:prstGeom>
        </p:spPr>
      </p:pic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| 08.11. 2023 | Odborná praxe | GQD-1 | Ondřej Hlaváček</a:t>
            </a:r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4" y="648000"/>
            <a:ext cx="4680000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>
          <a:xfrm>
            <a:off x="449264" y="269875"/>
            <a:ext cx="4680000" cy="360000"/>
          </a:xfrm>
        </p:spPr>
        <p:txBody>
          <a:bodyPr/>
          <a:lstStyle>
            <a:lvl1pPr>
              <a:defRPr/>
            </a:lvl1pPr>
          </a:lstStyle>
          <a:p>
            <a:r>
              <a:rPr lang="cs-CZ" noProof="0"/>
              <a:t>Nadpis (shrnutí stránky)</a:t>
            </a:r>
          </a:p>
        </p:txBody>
      </p:sp>
      <p:sp>
        <p:nvSpPr>
          <p:cNvPr id="5" name="Zástupný symbol pro obsah 2">
            <a:extLst>
              <a:ext uri="{FF2B5EF4-FFF2-40B4-BE49-F238E27FC236}">
                <a16:creationId xmlns:a16="http://schemas.microsoft.com/office/drawing/2014/main" id="{3471EC78-B29A-0B43-3BBF-4728093475C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49264" y="1314450"/>
            <a:ext cx="3456000" cy="4032250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/>
              <a:t>První úroveň</a:t>
            </a:r>
          </a:p>
          <a:p>
            <a:pPr lvl="1"/>
            <a:r>
              <a:rPr lang="cs-CZ" noProof="0"/>
              <a:t>Druhá úroveň</a:t>
            </a:r>
          </a:p>
          <a:p>
            <a:pPr lvl="2"/>
            <a:r>
              <a:rPr lang="cs-CZ" noProof="0"/>
              <a:t>Třetí úroveň</a:t>
            </a:r>
          </a:p>
          <a:p>
            <a:pPr lvl="3"/>
            <a:r>
              <a:rPr lang="cs-CZ" noProof="0"/>
              <a:t>Čtvrtá úroveň</a:t>
            </a:r>
          </a:p>
          <a:p>
            <a:pPr lvl="4"/>
            <a:r>
              <a:rPr lang="cs-CZ" noProof="0"/>
              <a:t>Pátá úroveň</a:t>
            </a:r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804DA798-6702-22E7-2B26-4A61B09ABC95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993683" y="981810"/>
            <a:ext cx="1854048" cy="4031251"/>
          </a:xfrm>
          <a:custGeom>
            <a:avLst/>
            <a:gdLst>
              <a:gd name="connsiteX0" fmla="*/ 163971 w 1854048"/>
              <a:gd name="connsiteY0" fmla="*/ 0 h 4031251"/>
              <a:gd name="connsiteX1" fmla="*/ 364469 w 1854048"/>
              <a:gd name="connsiteY1" fmla="*/ 0 h 4031251"/>
              <a:gd name="connsiteX2" fmla="*/ 393066 w 1854048"/>
              <a:gd name="connsiteY2" fmla="*/ 4326 h 4031251"/>
              <a:gd name="connsiteX3" fmla="*/ 414386 w 1854048"/>
              <a:gd name="connsiteY3" fmla="*/ 44511 h 4031251"/>
              <a:gd name="connsiteX4" fmla="*/ 445343 w 1854048"/>
              <a:gd name="connsiteY4" fmla="*/ 125472 h 4031251"/>
              <a:gd name="connsiteX5" fmla="*/ 535829 w 1854048"/>
              <a:gd name="connsiteY5" fmla="*/ 151666 h 4031251"/>
              <a:gd name="connsiteX6" fmla="*/ 1324023 w 1854048"/>
              <a:gd name="connsiteY6" fmla="*/ 154048 h 4031251"/>
              <a:gd name="connsiteX7" fmla="*/ 1412130 w 1854048"/>
              <a:gd name="connsiteY7" fmla="*/ 115948 h 4031251"/>
              <a:gd name="connsiteX8" fmla="*/ 1438324 w 1854048"/>
              <a:gd name="connsiteY8" fmla="*/ 56417 h 4031251"/>
              <a:gd name="connsiteX9" fmla="*/ 1495473 w 1854048"/>
              <a:gd name="connsiteY9" fmla="*/ 4028 h 4031251"/>
              <a:gd name="connsiteX10" fmla="*/ 1671684 w 1854048"/>
              <a:gd name="connsiteY10" fmla="*/ 6410 h 4031251"/>
              <a:gd name="connsiteX11" fmla="*/ 1816942 w 1854048"/>
              <a:gd name="connsiteY11" fmla="*/ 82610 h 4031251"/>
              <a:gd name="connsiteX12" fmla="*/ 1852103 w 1854048"/>
              <a:gd name="connsiteY12" fmla="*/ 175925 h 4031251"/>
              <a:gd name="connsiteX13" fmla="*/ 1854048 w 1854048"/>
              <a:gd name="connsiteY13" fmla="*/ 210300 h 4031251"/>
              <a:gd name="connsiteX14" fmla="*/ 1854048 w 1854048"/>
              <a:gd name="connsiteY14" fmla="*/ 3846889 h 4031251"/>
              <a:gd name="connsiteX15" fmla="*/ 1845815 w 1854048"/>
              <a:gd name="connsiteY15" fmla="*/ 3894099 h 4031251"/>
              <a:gd name="connsiteX16" fmla="*/ 1807418 w 1854048"/>
              <a:gd name="connsiteY16" fmla="*/ 3964048 h 4031251"/>
              <a:gd name="connsiteX17" fmla="*/ 1595486 w 1854048"/>
              <a:gd name="connsiteY17" fmla="*/ 4030722 h 4031251"/>
              <a:gd name="connsiteX18" fmla="*/ 245316 w 1854048"/>
              <a:gd name="connsiteY18" fmla="*/ 4030723 h 4031251"/>
              <a:gd name="connsiteX19" fmla="*/ 50055 w 1854048"/>
              <a:gd name="connsiteY19" fmla="*/ 3966430 h 4031251"/>
              <a:gd name="connsiteX20" fmla="*/ 48 w 1854048"/>
              <a:gd name="connsiteY20" fmla="*/ 3785454 h 4031251"/>
              <a:gd name="connsiteX21" fmla="*/ 48 w 1854048"/>
              <a:gd name="connsiteY21" fmla="*/ 251679 h 4031251"/>
              <a:gd name="connsiteX22" fmla="*/ 47675 w 1854048"/>
              <a:gd name="connsiteY22" fmla="*/ 61178 h 4031251"/>
              <a:gd name="connsiteX23" fmla="*/ 127930 w 1854048"/>
              <a:gd name="connsiteY23" fmla="*/ 9555 h 40312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854048" h="4031251">
                <a:moveTo>
                  <a:pt x="163971" y="0"/>
                </a:moveTo>
                <a:lnTo>
                  <a:pt x="364469" y="0"/>
                </a:lnTo>
                <a:lnTo>
                  <a:pt x="393066" y="4326"/>
                </a:lnTo>
                <a:cubicBezTo>
                  <a:pt x="415576" y="11024"/>
                  <a:pt x="409624" y="23080"/>
                  <a:pt x="414386" y="44511"/>
                </a:cubicBezTo>
                <a:cubicBezTo>
                  <a:pt x="418754" y="87374"/>
                  <a:pt x="425102" y="98088"/>
                  <a:pt x="445343" y="125472"/>
                </a:cubicBezTo>
                <a:cubicBezTo>
                  <a:pt x="465584" y="152856"/>
                  <a:pt x="485823" y="152063"/>
                  <a:pt x="535829" y="151666"/>
                </a:cubicBezTo>
                <a:lnTo>
                  <a:pt x="1324023" y="154048"/>
                </a:lnTo>
                <a:cubicBezTo>
                  <a:pt x="1376411" y="150873"/>
                  <a:pt x="1390699" y="132220"/>
                  <a:pt x="1412130" y="115948"/>
                </a:cubicBezTo>
                <a:cubicBezTo>
                  <a:pt x="1433561" y="99676"/>
                  <a:pt x="1436340" y="77451"/>
                  <a:pt x="1438324" y="56417"/>
                </a:cubicBezTo>
                <a:cubicBezTo>
                  <a:pt x="1440308" y="35383"/>
                  <a:pt x="1429592" y="1647"/>
                  <a:pt x="1495473" y="4028"/>
                </a:cubicBezTo>
                <a:cubicBezTo>
                  <a:pt x="1556592" y="4028"/>
                  <a:pt x="1603818" y="5219"/>
                  <a:pt x="1671684" y="6410"/>
                </a:cubicBezTo>
                <a:cubicBezTo>
                  <a:pt x="1739550" y="7601"/>
                  <a:pt x="1789955" y="46495"/>
                  <a:pt x="1816942" y="82610"/>
                </a:cubicBezTo>
                <a:cubicBezTo>
                  <a:pt x="1833015" y="107018"/>
                  <a:pt x="1846410" y="131426"/>
                  <a:pt x="1852103" y="175925"/>
                </a:cubicBezTo>
                <a:lnTo>
                  <a:pt x="1854048" y="210300"/>
                </a:lnTo>
                <a:lnTo>
                  <a:pt x="1854048" y="3846889"/>
                </a:lnTo>
                <a:lnTo>
                  <a:pt x="1845815" y="3894099"/>
                </a:lnTo>
                <a:cubicBezTo>
                  <a:pt x="1836787" y="3926147"/>
                  <a:pt x="1823293" y="3947379"/>
                  <a:pt x="1807418" y="3964048"/>
                </a:cubicBezTo>
                <a:cubicBezTo>
                  <a:pt x="1775668" y="3997386"/>
                  <a:pt x="1715342" y="4031517"/>
                  <a:pt x="1595486" y="4030722"/>
                </a:cubicBezTo>
                <a:cubicBezTo>
                  <a:pt x="1145429" y="4030722"/>
                  <a:pt x="355250" y="4031912"/>
                  <a:pt x="245316" y="4030723"/>
                </a:cubicBezTo>
                <a:cubicBezTo>
                  <a:pt x="135382" y="4029534"/>
                  <a:pt x="90933" y="4007308"/>
                  <a:pt x="50055" y="3966430"/>
                </a:cubicBezTo>
                <a:cubicBezTo>
                  <a:pt x="9177" y="3925552"/>
                  <a:pt x="1635" y="3884276"/>
                  <a:pt x="48" y="3785454"/>
                </a:cubicBezTo>
                <a:lnTo>
                  <a:pt x="48" y="251679"/>
                </a:lnTo>
                <a:cubicBezTo>
                  <a:pt x="-1143" y="128646"/>
                  <a:pt x="19894" y="96103"/>
                  <a:pt x="47675" y="61178"/>
                </a:cubicBezTo>
                <a:cubicBezTo>
                  <a:pt x="68511" y="34984"/>
                  <a:pt x="92918" y="20623"/>
                  <a:pt x="127930" y="9555"/>
                </a:cubicBezTo>
                <a:close/>
              </a:path>
            </a:pathLst>
          </a:custGeom>
          <a:ln w="3175">
            <a:noFill/>
          </a:ln>
        </p:spPr>
        <p:txBody>
          <a:bodyPr wrap="square" tIns="180000" rIns="0">
            <a:noAutofit/>
          </a:bodyPr>
          <a:lstStyle>
            <a:lvl1pPr algn="ctr">
              <a:spcBef>
                <a:spcPts val="0"/>
              </a:spcBef>
              <a:buFontTx/>
              <a:buNone/>
              <a:defRPr>
                <a:solidFill>
                  <a:schemeClr val="accent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Obr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4F6920E5-80D4-2D89-25DA-504036D6B91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239693" y="5659592"/>
            <a:ext cx="1002857" cy="10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4683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ets NT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2BC73856-9920-FB4D-1FA1-5AD01A9B1773}"/>
              </a:ext>
            </a:extLst>
          </p:cNvPr>
          <p:cNvSpPr/>
          <p:nvPr userDrawn="1"/>
        </p:nvSpPr>
        <p:spPr>
          <a:xfrm>
            <a:off x="3852000" y="0"/>
            <a:ext cx="6840000" cy="6011863"/>
          </a:xfrm>
          <a:custGeom>
            <a:avLst/>
            <a:gdLst>
              <a:gd name="connsiteX0" fmla="*/ 0 w 6840000"/>
              <a:gd name="connsiteY0" fmla="*/ 0 h 6011863"/>
              <a:gd name="connsiteX1" fmla="*/ 6840000 w 6840000"/>
              <a:gd name="connsiteY1" fmla="*/ 0 h 6011863"/>
              <a:gd name="connsiteX2" fmla="*/ 6840000 w 6840000"/>
              <a:gd name="connsiteY2" fmla="*/ 6011863 h 6011863"/>
              <a:gd name="connsiteX3" fmla="*/ 0 w 6840000"/>
              <a:gd name="connsiteY3" fmla="*/ 6011863 h 6011863"/>
              <a:gd name="connsiteX4" fmla="*/ 0 w 6840000"/>
              <a:gd name="connsiteY4" fmla="*/ 0 h 6011863"/>
              <a:gd name="connsiteX0" fmla="*/ 1602582 w 6840000"/>
              <a:gd name="connsiteY0" fmla="*/ 0 h 6011863"/>
              <a:gd name="connsiteX1" fmla="*/ 6840000 w 6840000"/>
              <a:gd name="connsiteY1" fmla="*/ 0 h 6011863"/>
              <a:gd name="connsiteX2" fmla="*/ 6840000 w 6840000"/>
              <a:gd name="connsiteY2" fmla="*/ 6011863 h 6011863"/>
              <a:gd name="connsiteX3" fmla="*/ 0 w 6840000"/>
              <a:gd name="connsiteY3" fmla="*/ 6011863 h 6011863"/>
              <a:gd name="connsiteX4" fmla="*/ 1602582 w 6840000"/>
              <a:gd name="connsiteY4" fmla="*/ 0 h 6011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40000" h="6011863">
                <a:moveTo>
                  <a:pt x="1602582" y="0"/>
                </a:moveTo>
                <a:lnTo>
                  <a:pt x="6840000" y="0"/>
                </a:lnTo>
                <a:lnTo>
                  <a:pt x="6840000" y="6011863"/>
                </a:lnTo>
                <a:lnTo>
                  <a:pt x="0" y="6011863"/>
                </a:lnTo>
                <a:lnTo>
                  <a:pt x="1602582" y="0"/>
                </a:lnTo>
                <a:close/>
              </a:path>
            </a:pathLst>
          </a:cu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noProof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| 08.11. 2023 | Odborná praxe | GQD-1 | Ondřej Hlaváček</a:t>
            </a:r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4" y="648000"/>
            <a:ext cx="4680000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>
          <a:xfrm>
            <a:off x="449264" y="269875"/>
            <a:ext cx="4680000" cy="360000"/>
          </a:xfrm>
        </p:spPr>
        <p:txBody>
          <a:bodyPr/>
          <a:lstStyle>
            <a:lvl1pPr>
              <a:defRPr/>
            </a:lvl1pPr>
          </a:lstStyle>
          <a:p>
            <a:r>
              <a:rPr lang="cs-CZ" noProof="0"/>
              <a:t>Nadpis (shrnutí stránky)</a:t>
            </a:r>
          </a:p>
        </p:txBody>
      </p:sp>
      <p:sp>
        <p:nvSpPr>
          <p:cNvPr id="5" name="Zástupný symbol pro obsah 2">
            <a:extLst>
              <a:ext uri="{FF2B5EF4-FFF2-40B4-BE49-F238E27FC236}">
                <a16:creationId xmlns:a16="http://schemas.microsoft.com/office/drawing/2014/main" id="{3471EC78-B29A-0B43-3BBF-4728093475C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49264" y="1314450"/>
            <a:ext cx="3456000" cy="4032250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/>
              <a:t>První úroveň</a:t>
            </a:r>
          </a:p>
          <a:p>
            <a:pPr lvl="1"/>
            <a:r>
              <a:rPr lang="cs-CZ" noProof="0"/>
              <a:t>Druhá úroveň</a:t>
            </a:r>
          </a:p>
          <a:p>
            <a:pPr lvl="2"/>
            <a:r>
              <a:rPr lang="cs-CZ" noProof="0"/>
              <a:t>Třetí úroveň</a:t>
            </a:r>
          </a:p>
          <a:p>
            <a:pPr lvl="3"/>
            <a:r>
              <a:rPr lang="cs-CZ" noProof="0"/>
              <a:t>Čtvrtá úroveň</a:t>
            </a:r>
          </a:p>
          <a:p>
            <a:pPr lvl="4"/>
            <a:r>
              <a:rPr lang="cs-CZ" noProof="0"/>
              <a:t>Pátá úroveň</a:t>
            </a:r>
          </a:p>
        </p:txBody>
      </p:sp>
      <p:pic>
        <p:nvPicPr>
          <p:cNvPr id="16" name="Picture 15" descr="Picture placeholder on NTB">
            <a:extLst>
              <a:ext uri="{FF2B5EF4-FFF2-40B4-BE49-F238E27FC236}">
                <a16:creationId xmlns:a16="http://schemas.microsoft.com/office/drawing/2014/main" id="{2B27DD95-842A-A815-22D8-793B2D351C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855" t="11185" r="2782" b="13217"/>
          <a:stretch/>
        </p:blipFill>
        <p:spPr>
          <a:xfrm>
            <a:off x="4781550" y="1277863"/>
            <a:ext cx="5681663" cy="3365576"/>
          </a:xfrm>
          <a:prstGeom prst="rect">
            <a:avLst/>
          </a:prstGeom>
        </p:spPr>
      </p:pic>
      <p:sp>
        <p:nvSpPr>
          <p:cNvPr id="2" name="Zástupný symbol pro obrázek 10">
            <a:extLst>
              <a:ext uri="{FF2B5EF4-FFF2-40B4-BE49-F238E27FC236}">
                <a16:creationId xmlns:a16="http://schemas.microsoft.com/office/drawing/2014/main" id="{87DEAAE3-7548-B252-8D11-D78AD94E54D2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504180" y="1527175"/>
            <a:ext cx="4248000" cy="2664000"/>
          </a:xfrm>
        </p:spPr>
        <p:txBody>
          <a:bodyPr/>
          <a:lstStyle>
            <a:lvl1pPr algn="ctr">
              <a:buFontTx/>
              <a:buNone/>
              <a:defRPr>
                <a:solidFill>
                  <a:schemeClr val="accent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Obr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6ECBEF5D-7ACB-67AC-72FD-844FFECDC1C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239693" y="5659592"/>
            <a:ext cx="1002857" cy="10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4163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ssets Screens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Shape, rectangle&#10;&#10;Description automatically generated">
            <a:extLst>
              <a:ext uri="{FF2B5EF4-FFF2-40B4-BE49-F238E27FC236}">
                <a16:creationId xmlns:a16="http://schemas.microsoft.com/office/drawing/2014/main" id="{DF3E1D76-E1FE-85BE-876E-897BF722D4A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050" y="2091613"/>
            <a:ext cx="3744000" cy="2995200"/>
          </a:xfrm>
          <a:prstGeom prst="rect">
            <a:avLst/>
          </a:prstGeom>
          <a:effectLst>
            <a:softEdge rad="31750"/>
          </a:effectLst>
        </p:spPr>
      </p:pic>
      <p:pic>
        <p:nvPicPr>
          <p:cNvPr id="14" name="Picture 13" descr="A black smartphone with a green screen&#10;&#10;Description automatically generated with low confidence">
            <a:extLst>
              <a:ext uri="{FF2B5EF4-FFF2-40B4-BE49-F238E27FC236}">
                <a16:creationId xmlns:a16="http://schemas.microsoft.com/office/drawing/2014/main" id="{BAFCD9A6-230C-5FDE-7021-3001BC6B300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5395" y="1559470"/>
            <a:ext cx="1016799" cy="1969200"/>
          </a:xfrm>
          <a:prstGeom prst="rect">
            <a:avLst/>
          </a:prstGeom>
        </p:spPr>
      </p:pic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6369D4B5-C1C4-FBDE-DE0B-8CEE20ED2F6A}"/>
              </a:ext>
            </a:extLst>
          </p:cNvPr>
          <p:cNvSpPr/>
          <p:nvPr userDrawn="1"/>
        </p:nvSpPr>
        <p:spPr>
          <a:xfrm>
            <a:off x="4057652" y="4531518"/>
            <a:ext cx="417600" cy="504000"/>
          </a:xfrm>
          <a:prstGeom prst="roundRect">
            <a:avLst/>
          </a:prstGeom>
          <a:solidFill>
            <a:schemeClr val="accent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noProof="0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7" name="Zástupný symbol pro zápatí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| 08.11. 2023 | Odborná praxe | GQD-1 | Ondřej Hlaváček</a:t>
            </a:r>
          </a:p>
        </p:txBody>
      </p:sp>
      <p:sp>
        <p:nvSpPr>
          <p:cNvPr id="10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648000"/>
            <a:ext cx="9793288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/>
              <a:t>Podnadpis</a:t>
            </a:r>
          </a:p>
        </p:txBody>
      </p:sp>
      <p:sp>
        <p:nvSpPr>
          <p:cNvPr id="3" name="Nadpis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cs-CZ" noProof="0"/>
              <a:t>Nadpis (shrnutí stránky)</a:t>
            </a:r>
          </a:p>
        </p:txBody>
      </p:sp>
      <p:sp>
        <p:nvSpPr>
          <p:cNvPr id="4" name="Picture Placeholder 18">
            <a:extLst>
              <a:ext uri="{FF2B5EF4-FFF2-40B4-BE49-F238E27FC236}">
                <a16:creationId xmlns:a16="http://schemas.microsoft.com/office/drawing/2014/main" id="{3F5D714F-8A7D-5AF6-0CB7-DFB1A6CB1325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912946" y="1610447"/>
            <a:ext cx="832324" cy="1809720"/>
          </a:xfrm>
          <a:custGeom>
            <a:avLst/>
            <a:gdLst>
              <a:gd name="connsiteX0" fmla="*/ 163971 w 1854048"/>
              <a:gd name="connsiteY0" fmla="*/ 0 h 4031251"/>
              <a:gd name="connsiteX1" fmla="*/ 364469 w 1854048"/>
              <a:gd name="connsiteY1" fmla="*/ 0 h 4031251"/>
              <a:gd name="connsiteX2" fmla="*/ 393066 w 1854048"/>
              <a:gd name="connsiteY2" fmla="*/ 4326 h 4031251"/>
              <a:gd name="connsiteX3" fmla="*/ 414386 w 1854048"/>
              <a:gd name="connsiteY3" fmla="*/ 44511 h 4031251"/>
              <a:gd name="connsiteX4" fmla="*/ 445343 w 1854048"/>
              <a:gd name="connsiteY4" fmla="*/ 125472 h 4031251"/>
              <a:gd name="connsiteX5" fmla="*/ 535829 w 1854048"/>
              <a:gd name="connsiteY5" fmla="*/ 151666 h 4031251"/>
              <a:gd name="connsiteX6" fmla="*/ 1324023 w 1854048"/>
              <a:gd name="connsiteY6" fmla="*/ 154048 h 4031251"/>
              <a:gd name="connsiteX7" fmla="*/ 1412130 w 1854048"/>
              <a:gd name="connsiteY7" fmla="*/ 115948 h 4031251"/>
              <a:gd name="connsiteX8" fmla="*/ 1438324 w 1854048"/>
              <a:gd name="connsiteY8" fmla="*/ 56417 h 4031251"/>
              <a:gd name="connsiteX9" fmla="*/ 1495473 w 1854048"/>
              <a:gd name="connsiteY9" fmla="*/ 4028 h 4031251"/>
              <a:gd name="connsiteX10" fmla="*/ 1671684 w 1854048"/>
              <a:gd name="connsiteY10" fmla="*/ 6410 h 4031251"/>
              <a:gd name="connsiteX11" fmla="*/ 1816942 w 1854048"/>
              <a:gd name="connsiteY11" fmla="*/ 82610 h 4031251"/>
              <a:gd name="connsiteX12" fmla="*/ 1852103 w 1854048"/>
              <a:gd name="connsiteY12" fmla="*/ 175925 h 4031251"/>
              <a:gd name="connsiteX13" fmla="*/ 1854048 w 1854048"/>
              <a:gd name="connsiteY13" fmla="*/ 210300 h 4031251"/>
              <a:gd name="connsiteX14" fmla="*/ 1854048 w 1854048"/>
              <a:gd name="connsiteY14" fmla="*/ 3846889 h 4031251"/>
              <a:gd name="connsiteX15" fmla="*/ 1845815 w 1854048"/>
              <a:gd name="connsiteY15" fmla="*/ 3894099 h 4031251"/>
              <a:gd name="connsiteX16" fmla="*/ 1807418 w 1854048"/>
              <a:gd name="connsiteY16" fmla="*/ 3964048 h 4031251"/>
              <a:gd name="connsiteX17" fmla="*/ 1595486 w 1854048"/>
              <a:gd name="connsiteY17" fmla="*/ 4030722 h 4031251"/>
              <a:gd name="connsiteX18" fmla="*/ 245316 w 1854048"/>
              <a:gd name="connsiteY18" fmla="*/ 4030723 h 4031251"/>
              <a:gd name="connsiteX19" fmla="*/ 50055 w 1854048"/>
              <a:gd name="connsiteY19" fmla="*/ 3966430 h 4031251"/>
              <a:gd name="connsiteX20" fmla="*/ 48 w 1854048"/>
              <a:gd name="connsiteY20" fmla="*/ 3785454 h 4031251"/>
              <a:gd name="connsiteX21" fmla="*/ 48 w 1854048"/>
              <a:gd name="connsiteY21" fmla="*/ 251679 h 4031251"/>
              <a:gd name="connsiteX22" fmla="*/ 47675 w 1854048"/>
              <a:gd name="connsiteY22" fmla="*/ 61178 h 4031251"/>
              <a:gd name="connsiteX23" fmla="*/ 127930 w 1854048"/>
              <a:gd name="connsiteY23" fmla="*/ 9555 h 40312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854048" h="4031251">
                <a:moveTo>
                  <a:pt x="163971" y="0"/>
                </a:moveTo>
                <a:lnTo>
                  <a:pt x="364469" y="0"/>
                </a:lnTo>
                <a:lnTo>
                  <a:pt x="393066" y="4326"/>
                </a:lnTo>
                <a:cubicBezTo>
                  <a:pt x="415576" y="11024"/>
                  <a:pt x="409624" y="23080"/>
                  <a:pt x="414386" y="44511"/>
                </a:cubicBezTo>
                <a:cubicBezTo>
                  <a:pt x="418754" y="87374"/>
                  <a:pt x="425102" y="98088"/>
                  <a:pt x="445343" y="125472"/>
                </a:cubicBezTo>
                <a:cubicBezTo>
                  <a:pt x="465584" y="152856"/>
                  <a:pt x="485823" y="152063"/>
                  <a:pt x="535829" y="151666"/>
                </a:cubicBezTo>
                <a:lnTo>
                  <a:pt x="1324023" y="154048"/>
                </a:lnTo>
                <a:cubicBezTo>
                  <a:pt x="1376411" y="150873"/>
                  <a:pt x="1390699" y="132220"/>
                  <a:pt x="1412130" y="115948"/>
                </a:cubicBezTo>
                <a:cubicBezTo>
                  <a:pt x="1433561" y="99676"/>
                  <a:pt x="1436340" y="77451"/>
                  <a:pt x="1438324" y="56417"/>
                </a:cubicBezTo>
                <a:cubicBezTo>
                  <a:pt x="1440308" y="35383"/>
                  <a:pt x="1429592" y="1647"/>
                  <a:pt x="1495473" y="4028"/>
                </a:cubicBezTo>
                <a:cubicBezTo>
                  <a:pt x="1556592" y="4028"/>
                  <a:pt x="1603818" y="5219"/>
                  <a:pt x="1671684" y="6410"/>
                </a:cubicBezTo>
                <a:cubicBezTo>
                  <a:pt x="1739550" y="7601"/>
                  <a:pt x="1789955" y="46495"/>
                  <a:pt x="1816942" y="82610"/>
                </a:cubicBezTo>
                <a:cubicBezTo>
                  <a:pt x="1833015" y="107018"/>
                  <a:pt x="1846410" y="131426"/>
                  <a:pt x="1852103" y="175925"/>
                </a:cubicBezTo>
                <a:lnTo>
                  <a:pt x="1854048" y="210300"/>
                </a:lnTo>
                <a:lnTo>
                  <a:pt x="1854048" y="3846889"/>
                </a:lnTo>
                <a:lnTo>
                  <a:pt x="1845815" y="3894099"/>
                </a:lnTo>
                <a:cubicBezTo>
                  <a:pt x="1836787" y="3926147"/>
                  <a:pt x="1823293" y="3947379"/>
                  <a:pt x="1807418" y="3964048"/>
                </a:cubicBezTo>
                <a:cubicBezTo>
                  <a:pt x="1775668" y="3997386"/>
                  <a:pt x="1715342" y="4031517"/>
                  <a:pt x="1595486" y="4030722"/>
                </a:cubicBezTo>
                <a:cubicBezTo>
                  <a:pt x="1145429" y="4030722"/>
                  <a:pt x="355250" y="4031912"/>
                  <a:pt x="245316" y="4030723"/>
                </a:cubicBezTo>
                <a:cubicBezTo>
                  <a:pt x="135382" y="4029534"/>
                  <a:pt x="90933" y="4007308"/>
                  <a:pt x="50055" y="3966430"/>
                </a:cubicBezTo>
                <a:cubicBezTo>
                  <a:pt x="9177" y="3925552"/>
                  <a:pt x="1635" y="3884276"/>
                  <a:pt x="48" y="3785454"/>
                </a:cubicBezTo>
                <a:lnTo>
                  <a:pt x="48" y="251679"/>
                </a:lnTo>
                <a:cubicBezTo>
                  <a:pt x="-1143" y="128646"/>
                  <a:pt x="19894" y="96103"/>
                  <a:pt x="47675" y="61178"/>
                </a:cubicBezTo>
                <a:cubicBezTo>
                  <a:pt x="68511" y="34984"/>
                  <a:pt x="92918" y="20623"/>
                  <a:pt x="127930" y="9555"/>
                </a:cubicBezTo>
                <a:close/>
              </a:path>
            </a:pathLst>
          </a:custGeom>
          <a:ln w="3175">
            <a:noFill/>
          </a:ln>
        </p:spPr>
        <p:txBody>
          <a:bodyPr wrap="square" tIns="180000" rIns="0">
            <a:noAutofit/>
          </a:bodyPr>
          <a:lstStyle>
            <a:lvl1pPr algn="ctr">
              <a:spcBef>
                <a:spcPts val="0"/>
              </a:spcBef>
              <a:buFontTx/>
              <a:buNone/>
              <a:defRPr>
                <a:solidFill>
                  <a:schemeClr val="accent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Obr</a:t>
            </a:r>
          </a:p>
        </p:txBody>
      </p:sp>
      <p:pic>
        <p:nvPicPr>
          <p:cNvPr id="5" name="Picture 4" descr="Picture placeholder on NTB">
            <a:extLst>
              <a:ext uri="{FF2B5EF4-FFF2-40B4-BE49-F238E27FC236}">
                <a16:creationId xmlns:a16="http://schemas.microsoft.com/office/drawing/2014/main" id="{83BDD9CF-7056-D14F-6C98-08383FBD25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855" t="11185" r="2782" b="13217"/>
          <a:stretch/>
        </p:blipFill>
        <p:spPr>
          <a:xfrm>
            <a:off x="5288606" y="1778076"/>
            <a:ext cx="5079632" cy="3008958"/>
          </a:xfrm>
          <a:prstGeom prst="rect">
            <a:avLst/>
          </a:prstGeom>
        </p:spPr>
      </p:pic>
      <p:sp>
        <p:nvSpPr>
          <p:cNvPr id="8" name="Zástupný symbol pro obrázek 10">
            <a:extLst>
              <a:ext uri="{FF2B5EF4-FFF2-40B4-BE49-F238E27FC236}">
                <a16:creationId xmlns:a16="http://schemas.microsoft.com/office/drawing/2014/main" id="{D15D8CFF-B991-6428-A03C-ED319344C3E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928544" y="1998378"/>
            <a:ext cx="3801600" cy="2381722"/>
          </a:xfrm>
        </p:spPr>
        <p:txBody>
          <a:bodyPr/>
          <a:lstStyle>
            <a:lvl1pPr algn="ctr">
              <a:buFontTx/>
              <a:buNone/>
              <a:defRPr>
                <a:solidFill>
                  <a:schemeClr val="accent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Obr</a:t>
            </a:r>
          </a:p>
        </p:txBody>
      </p:sp>
      <p:sp>
        <p:nvSpPr>
          <p:cNvPr id="13" name="Zástupný symbol pro obrázek 10">
            <a:extLst>
              <a:ext uri="{FF2B5EF4-FFF2-40B4-BE49-F238E27FC236}">
                <a16:creationId xmlns:a16="http://schemas.microsoft.com/office/drawing/2014/main" id="{8DB6E6F3-896A-1761-57EA-93B2D9BFC65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04433" y="2467446"/>
            <a:ext cx="2653200" cy="1854000"/>
          </a:xfrm>
          <a:prstGeom prst="roundRect">
            <a:avLst>
              <a:gd name="adj" fmla="val 2124"/>
            </a:avLst>
          </a:prstGeom>
        </p:spPr>
        <p:txBody>
          <a:bodyPr/>
          <a:lstStyle>
            <a:lvl1pPr algn="ctr">
              <a:buFontTx/>
              <a:buNone/>
              <a:defRPr>
                <a:solidFill>
                  <a:schemeClr val="accent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Obr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8D6BEC5B-BD30-950B-5B02-B20EBD2C6B5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06843" y="4321446"/>
            <a:ext cx="540000" cy="920700"/>
          </a:xfrm>
          <a:prstGeom prst="rect">
            <a:avLst/>
          </a:prstGeom>
        </p:spPr>
      </p:pic>
      <p:sp>
        <p:nvSpPr>
          <p:cNvPr id="20" name="Zástupný symbol pro obrázek 10">
            <a:extLst>
              <a:ext uri="{FF2B5EF4-FFF2-40B4-BE49-F238E27FC236}">
                <a16:creationId xmlns:a16="http://schemas.microsoft.com/office/drawing/2014/main" id="{24F28A04-BA62-6179-A6A4-4EE5267D30D4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4062413" y="4536280"/>
            <a:ext cx="406800" cy="489600"/>
          </a:xfrm>
          <a:prstGeom prst="roundRect">
            <a:avLst>
              <a:gd name="adj" fmla="val 17343"/>
            </a:avLst>
          </a:prstGeom>
        </p:spPr>
        <p:txBody>
          <a:bodyPr/>
          <a:lstStyle>
            <a:lvl1pPr algn="ctr">
              <a:buFontTx/>
              <a:buNone/>
              <a:defRPr>
                <a:solidFill>
                  <a:schemeClr val="accent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Obr</a:t>
            </a:r>
          </a:p>
        </p:txBody>
      </p:sp>
    </p:spTree>
    <p:extLst>
      <p:ext uri="{BB962C8B-B14F-4D97-AF65-F5344CB8AC3E}">
        <p14:creationId xmlns:p14="http://schemas.microsoft.com/office/powerpoint/2010/main" val="950347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 userDrawn="1">
            <p:ph idx="1" hasCustomPrompt="1"/>
          </p:nvPr>
        </p:nvSpPr>
        <p:spPr>
          <a:xfrm>
            <a:off x="449263" y="1314450"/>
            <a:ext cx="9793287" cy="4032250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/>
              <a:t>První úroveň</a:t>
            </a:r>
          </a:p>
          <a:p>
            <a:pPr lvl="1"/>
            <a:r>
              <a:rPr lang="cs-CZ" noProof="0"/>
              <a:t>Druhá úroveň</a:t>
            </a:r>
          </a:p>
          <a:p>
            <a:pPr lvl="2"/>
            <a:r>
              <a:rPr lang="cs-CZ" noProof="0"/>
              <a:t>Třetí úroveň</a:t>
            </a:r>
          </a:p>
          <a:p>
            <a:pPr lvl="3"/>
            <a:r>
              <a:rPr lang="cs-CZ" noProof="0"/>
              <a:t>Čtvrtá úroveň</a:t>
            </a:r>
          </a:p>
          <a:p>
            <a:pPr lvl="4"/>
            <a:r>
              <a:rPr lang="cs-CZ" noProof="0"/>
              <a:t>Pátá úroveň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 userDrawn="1"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8" name="Zástupný symbol pro zápatí 7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| 08.11. 2023 | Odborná praxe | GQD-1 | Ondřej Hlaváček</a:t>
            </a:r>
          </a:p>
        </p:txBody>
      </p:sp>
      <p:sp>
        <p:nvSpPr>
          <p:cNvPr id="29" name="Zástupný symbol pro text 28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449263" y="649287"/>
            <a:ext cx="9793288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 userDrawn="1">
            <p:ph type="title" hasCustomPrompt="1"/>
          </p:nvPr>
        </p:nvSpPr>
        <p:spPr>
          <a:xfrm>
            <a:off x="449263" y="269875"/>
            <a:ext cx="9793287" cy="360000"/>
          </a:xfrm>
        </p:spPr>
        <p:txBody>
          <a:bodyPr/>
          <a:lstStyle>
            <a:lvl1pPr>
              <a:defRPr/>
            </a:lvl1pPr>
          </a:lstStyle>
          <a:p>
            <a:r>
              <a:rPr lang="cs-CZ" noProof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1892475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xt Chapt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90BAC904-4638-901D-4A48-3CD3F5ADF590}"/>
              </a:ext>
            </a:extLst>
          </p:cNvPr>
          <p:cNvSpPr/>
          <p:nvPr userDrawn="1"/>
        </p:nvSpPr>
        <p:spPr>
          <a:xfrm>
            <a:off x="9197999" y="5623200"/>
            <a:ext cx="1080000" cy="180000"/>
          </a:xfrm>
          <a:prstGeom prst="rect">
            <a:avLst/>
          </a:pr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700" dirty="0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92AA19F-6376-FAB3-2A4C-666DF6E7BED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41200" y="5659200"/>
            <a:ext cx="1002857" cy="108000"/>
          </a:xfrm>
          <a:prstGeom prst="rect">
            <a:avLst/>
          </a:prstGeom>
        </p:spPr>
      </p:pic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264"/>
          <a:ext cx="1587" cy="12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9" imgH="398" progId="TCLayout.ActiveDocument.1">
                  <p:embed/>
                </p:oleObj>
              </mc:Choice>
              <mc:Fallback>
                <p:oleObj name="think-cell Slide" r:id="rId5" imgW="399" imgH="398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264"/>
                        <a:ext cx="1587" cy="12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 userDrawn="1">
            <p:ph type="title" hasCustomPrompt="1"/>
          </p:nvPr>
        </p:nvSpPr>
        <p:spPr>
          <a:xfrm>
            <a:off x="449263" y="1314450"/>
            <a:ext cx="9791194" cy="1620000"/>
          </a:xfrm>
        </p:spPr>
        <p:txBody>
          <a:bodyPr anchor="t" anchorCtr="0">
            <a:noAutofit/>
          </a:bodyPr>
          <a:lstStyle>
            <a:lvl1pPr marL="0" indent="0">
              <a:lnSpc>
                <a:spcPts val="6000"/>
              </a:lnSpc>
              <a:buFont typeface="+mj-lt"/>
              <a:buNone/>
              <a:defRPr sz="6000" b="0" cap="none" baseline="0">
                <a:solidFill>
                  <a:schemeClr val="accent2"/>
                </a:solidFill>
                <a:latin typeface="SKODA Next Light" panose="020B0304020603020204" pitchFamily="34" charset="0"/>
              </a:defRPr>
            </a:lvl1pPr>
          </a:lstStyle>
          <a:p>
            <a:r>
              <a:rPr lang="cs-CZ" noProof="0"/>
              <a:t>1. Kapitola</a:t>
            </a:r>
          </a:p>
        </p:txBody>
      </p:sp>
      <p:sp>
        <p:nvSpPr>
          <p:cNvPr id="11" name="Text Placeholder 19">
            <a:extLst>
              <a:ext uri="{FF2B5EF4-FFF2-40B4-BE49-F238E27FC236}">
                <a16:creationId xmlns:a16="http://schemas.microsoft.com/office/drawing/2014/main" id="{6DE4403A-6787-41E0-C252-174FF53546B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49601" y="3005930"/>
            <a:ext cx="8890856" cy="234077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None/>
              <a:defRPr sz="2000" b="0">
                <a:solidFill>
                  <a:schemeClr val="accent2"/>
                </a:solidFill>
                <a:latin typeface="SKODA Next Light" panose="020B0304020603020204" pitchFamily="34" charset="0"/>
              </a:defRPr>
            </a:lvl1pPr>
          </a:lstStyle>
          <a:p>
            <a:pPr lvl="0"/>
            <a:r>
              <a:rPr lang="cs-CZ" noProof="0"/>
              <a:t>Detaily kapitoly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5DA00B0-72A3-6348-58CB-D5A08617BE18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cs-CZ" noProof="0"/>
              <a:t>| 08.11. 2023 | Odborná praxe | GQD-1 | Ondřej Hlaváček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46914EB-8A13-3435-7731-7287A68E5A2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</p:spTree>
    <p:extLst>
      <p:ext uri="{BB962C8B-B14F-4D97-AF65-F5344CB8AC3E}">
        <p14:creationId xmlns:p14="http://schemas.microsoft.com/office/powerpoint/2010/main" val="2066090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449263" y="1314450"/>
            <a:ext cx="4824412" cy="4032250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/>
              <a:t>První úroveň</a:t>
            </a:r>
          </a:p>
          <a:p>
            <a:pPr lvl="1"/>
            <a:r>
              <a:rPr lang="cs-CZ" noProof="0"/>
              <a:t>Druhá úroveň</a:t>
            </a:r>
          </a:p>
          <a:p>
            <a:pPr lvl="2"/>
            <a:r>
              <a:rPr lang="cs-CZ" noProof="0"/>
              <a:t>Třetí úroveň</a:t>
            </a:r>
          </a:p>
          <a:p>
            <a:pPr lvl="3"/>
            <a:r>
              <a:rPr lang="cs-CZ" noProof="0"/>
              <a:t>Čtvrtá úroveň</a:t>
            </a:r>
          </a:p>
          <a:p>
            <a:pPr lvl="4"/>
            <a:r>
              <a:rPr lang="cs-CZ" noProof="0"/>
              <a:t>Pátá úroveň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| 08.11. 2023 | Odborná praxe | GQD-1 | Ondřej Hlaváček</a:t>
            </a:r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648000"/>
            <a:ext cx="9793288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/>
              <a:t>Nadpis (shrnutí stránky)</a:t>
            </a:r>
          </a:p>
        </p:txBody>
      </p:sp>
      <p:sp>
        <p:nvSpPr>
          <p:cNvPr id="9" name="Zástupný symbol pro obsah 2"/>
          <p:cNvSpPr>
            <a:spLocks noGrp="1"/>
          </p:cNvSpPr>
          <p:nvPr>
            <p:ph idx="13" hasCustomPrompt="1"/>
          </p:nvPr>
        </p:nvSpPr>
        <p:spPr>
          <a:xfrm>
            <a:off x="5418139" y="1314450"/>
            <a:ext cx="4824411" cy="4032250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/>
              <a:t>První úroveň</a:t>
            </a:r>
          </a:p>
          <a:p>
            <a:pPr lvl="1"/>
            <a:r>
              <a:rPr lang="cs-CZ" noProof="0"/>
              <a:t>Druhá úroveň</a:t>
            </a:r>
          </a:p>
          <a:p>
            <a:pPr lvl="2"/>
            <a:r>
              <a:rPr lang="cs-CZ" noProof="0"/>
              <a:t>Třetí úroveň</a:t>
            </a:r>
          </a:p>
          <a:p>
            <a:pPr lvl="3"/>
            <a:r>
              <a:rPr lang="cs-CZ" noProof="0"/>
              <a:t>Čtvrtá úroveň</a:t>
            </a:r>
          </a:p>
          <a:p>
            <a:pPr lvl="4"/>
            <a:r>
              <a:rPr lang="cs-CZ" noProof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325300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449261" y="1314450"/>
            <a:ext cx="3168651" cy="4032250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/>
              <a:t>První úroveň</a:t>
            </a:r>
          </a:p>
          <a:p>
            <a:pPr lvl="1"/>
            <a:r>
              <a:rPr lang="cs-CZ" noProof="0"/>
              <a:t>Druhá úroveň</a:t>
            </a:r>
          </a:p>
          <a:p>
            <a:pPr lvl="2"/>
            <a:r>
              <a:rPr lang="cs-CZ" noProof="0"/>
              <a:t>Třetí úroveň</a:t>
            </a:r>
          </a:p>
          <a:p>
            <a:pPr lvl="3"/>
            <a:r>
              <a:rPr lang="cs-CZ" noProof="0"/>
              <a:t>Čtvrtá úroveň</a:t>
            </a:r>
          </a:p>
          <a:p>
            <a:pPr lvl="4"/>
            <a:r>
              <a:rPr lang="cs-CZ" noProof="0"/>
              <a:t>Pátá úroveň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| 08.11. 2023 | Odborná praxe | GQD-1 | Ondřej Hlaváček</a:t>
            </a:r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648000"/>
            <a:ext cx="9793287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/>
              <a:t>Nadpis (shrnutí stránky)</a:t>
            </a:r>
          </a:p>
        </p:txBody>
      </p:sp>
      <p:sp>
        <p:nvSpPr>
          <p:cNvPr id="10" name="Zástupný symbol pro obsah 2"/>
          <p:cNvSpPr>
            <a:spLocks noGrp="1"/>
          </p:cNvSpPr>
          <p:nvPr>
            <p:ph idx="13" hasCustomPrompt="1"/>
          </p:nvPr>
        </p:nvSpPr>
        <p:spPr>
          <a:xfrm>
            <a:off x="3762375" y="1314450"/>
            <a:ext cx="3167063" cy="4032250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/>
              <a:t>První úroveň</a:t>
            </a:r>
          </a:p>
          <a:p>
            <a:pPr lvl="1"/>
            <a:r>
              <a:rPr lang="cs-CZ" noProof="0"/>
              <a:t>Druhá úroveň</a:t>
            </a:r>
          </a:p>
          <a:p>
            <a:pPr lvl="2"/>
            <a:r>
              <a:rPr lang="cs-CZ" noProof="0"/>
              <a:t>Třetí úroveň</a:t>
            </a:r>
          </a:p>
          <a:p>
            <a:pPr lvl="3"/>
            <a:r>
              <a:rPr lang="cs-CZ" noProof="0"/>
              <a:t>Čtvrtá úroveň</a:t>
            </a:r>
          </a:p>
          <a:p>
            <a:pPr lvl="4"/>
            <a:r>
              <a:rPr lang="cs-CZ" noProof="0"/>
              <a:t>Pátá úroveň</a:t>
            </a:r>
          </a:p>
        </p:txBody>
      </p:sp>
      <p:sp>
        <p:nvSpPr>
          <p:cNvPr id="11" name="Zástupný symbol pro obsah 2"/>
          <p:cNvSpPr>
            <a:spLocks noGrp="1"/>
          </p:cNvSpPr>
          <p:nvPr>
            <p:ph idx="14" hasCustomPrompt="1"/>
          </p:nvPr>
        </p:nvSpPr>
        <p:spPr>
          <a:xfrm>
            <a:off x="7073900" y="1314450"/>
            <a:ext cx="3168650" cy="4032250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/>
              <a:t>První úroveň</a:t>
            </a:r>
          </a:p>
          <a:p>
            <a:pPr lvl="1"/>
            <a:r>
              <a:rPr lang="cs-CZ" noProof="0"/>
              <a:t>Druhá úroveň</a:t>
            </a:r>
          </a:p>
          <a:p>
            <a:pPr lvl="2"/>
            <a:r>
              <a:rPr lang="cs-CZ" noProof="0"/>
              <a:t>Třetí úroveň</a:t>
            </a:r>
          </a:p>
          <a:p>
            <a:pPr lvl="3"/>
            <a:r>
              <a:rPr lang="cs-CZ" noProof="0"/>
              <a:t>Čtvrtá úroveň</a:t>
            </a:r>
          </a:p>
          <a:p>
            <a:pPr lvl="4"/>
            <a:r>
              <a:rPr lang="cs-CZ" noProof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129038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ADB3A0F4-8FD1-BB33-A8B9-BD088CAF92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39693" y="5657211"/>
            <a:ext cx="1002857" cy="108000"/>
          </a:xfrm>
          <a:prstGeom prst="rect">
            <a:avLst/>
          </a:prstGeom>
        </p:spPr>
      </p:pic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802F308-AC92-5DF3-874F-EFBBB2062E7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418138" y="0"/>
            <a:ext cx="5273675" cy="6011863"/>
          </a:xfrm>
          <a:custGeom>
            <a:avLst/>
            <a:gdLst>
              <a:gd name="connsiteX0" fmla="*/ 4487654 w 5273675"/>
              <a:gd name="connsiteY0" fmla="*/ 5682866 h 6011863"/>
              <a:gd name="connsiteX1" fmla="*/ 4551760 w 5273675"/>
              <a:gd name="connsiteY1" fmla="*/ 5682866 h 6011863"/>
              <a:gd name="connsiteX2" fmla="*/ 4569114 w 5273675"/>
              <a:gd name="connsiteY2" fmla="*/ 5699607 h 6011863"/>
              <a:gd name="connsiteX3" fmla="*/ 4569114 w 5273675"/>
              <a:gd name="connsiteY3" fmla="*/ 5727577 h 6011863"/>
              <a:gd name="connsiteX4" fmla="*/ 4551760 w 5273675"/>
              <a:gd name="connsiteY4" fmla="*/ 5744318 h 6011863"/>
              <a:gd name="connsiteX5" fmla="*/ 4487654 w 5273675"/>
              <a:gd name="connsiteY5" fmla="*/ 5744318 h 6011863"/>
              <a:gd name="connsiteX6" fmla="*/ 4272791 w 5273675"/>
              <a:gd name="connsiteY6" fmla="*/ 5682866 h 6011863"/>
              <a:gd name="connsiteX7" fmla="*/ 4326893 w 5273675"/>
              <a:gd name="connsiteY7" fmla="*/ 5682866 h 6011863"/>
              <a:gd name="connsiteX8" fmla="*/ 4343022 w 5273675"/>
              <a:gd name="connsiteY8" fmla="*/ 5698586 h 6011863"/>
              <a:gd name="connsiteX9" fmla="*/ 4343022 w 5273675"/>
              <a:gd name="connsiteY9" fmla="*/ 5728598 h 6011863"/>
              <a:gd name="connsiteX10" fmla="*/ 4326893 w 5273675"/>
              <a:gd name="connsiteY10" fmla="*/ 5744318 h 6011863"/>
              <a:gd name="connsiteX11" fmla="*/ 4272791 w 5273675"/>
              <a:gd name="connsiteY11" fmla="*/ 5744318 h 6011863"/>
              <a:gd name="connsiteX12" fmla="*/ 4256662 w 5273675"/>
              <a:gd name="connsiteY12" fmla="*/ 5728598 h 6011863"/>
              <a:gd name="connsiteX13" fmla="*/ 4256662 w 5273675"/>
              <a:gd name="connsiteY13" fmla="*/ 5698586 h 6011863"/>
              <a:gd name="connsiteX14" fmla="*/ 4272791 w 5273675"/>
              <a:gd name="connsiteY14" fmla="*/ 5682866 h 6011863"/>
              <a:gd name="connsiteX15" fmla="*/ 4745604 w 5273675"/>
              <a:gd name="connsiteY15" fmla="*/ 5679803 h 6011863"/>
              <a:gd name="connsiteX16" fmla="*/ 4771539 w 5273675"/>
              <a:gd name="connsiteY16" fmla="*/ 5725739 h 6011863"/>
              <a:gd name="connsiteX17" fmla="*/ 4719676 w 5273675"/>
              <a:gd name="connsiteY17" fmla="*/ 5725739 h 6011863"/>
              <a:gd name="connsiteX18" fmla="*/ 4728046 w 5273675"/>
              <a:gd name="connsiteY18" fmla="*/ 5659592 h 6011863"/>
              <a:gd name="connsiteX19" fmla="*/ 4667412 w 5273675"/>
              <a:gd name="connsiteY19" fmla="*/ 5767592 h 6011863"/>
              <a:gd name="connsiteX20" fmla="*/ 4696202 w 5273675"/>
              <a:gd name="connsiteY20" fmla="*/ 5767592 h 6011863"/>
              <a:gd name="connsiteX21" fmla="*/ 4719067 w 5273675"/>
              <a:gd name="connsiteY21" fmla="*/ 5726964 h 6011863"/>
              <a:gd name="connsiteX22" fmla="*/ 4732952 w 5273675"/>
              <a:gd name="connsiteY22" fmla="*/ 5749014 h 6011863"/>
              <a:gd name="connsiteX23" fmla="*/ 4784600 w 5273675"/>
              <a:gd name="connsiteY23" fmla="*/ 5749014 h 6011863"/>
              <a:gd name="connsiteX24" fmla="*/ 4795014 w 5273675"/>
              <a:gd name="connsiteY24" fmla="*/ 5767592 h 6011863"/>
              <a:gd name="connsiteX25" fmla="*/ 4824413 w 5273675"/>
              <a:gd name="connsiteY25" fmla="*/ 5767592 h 6011863"/>
              <a:gd name="connsiteX26" fmla="*/ 4763779 w 5273675"/>
              <a:gd name="connsiteY26" fmla="*/ 5659592 h 6011863"/>
              <a:gd name="connsiteX27" fmla="*/ 4461930 w 5273675"/>
              <a:gd name="connsiteY27" fmla="*/ 5659592 h 6011863"/>
              <a:gd name="connsiteX28" fmla="*/ 4461930 w 5273675"/>
              <a:gd name="connsiteY28" fmla="*/ 5767592 h 6011863"/>
              <a:gd name="connsiteX29" fmla="*/ 4552373 w 5273675"/>
              <a:gd name="connsiteY29" fmla="*/ 5767592 h 6011863"/>
              <a:gd name="connsiteX30" fmla="*/ 4594836 w 5273675"/>
              <a:gd name="connsiteY30" fmla="*/ 5726352 h 6011863"/>
              <a:gd name="connsiteX31" fmla="*/ 4594836 w 5273675"/>
              <a:gd name="connsiteY31" fmla="*/ 5700832 h 6011863"/>
              <a:gd name="connsiteX32" fmla="*/ 4552373 w 5273675"/>
              <a:gd name="connsiteY32" fmla="*/ 5659592 h 6011863"/>
              <a:gd name="connsiteX33" fmla="*/ 4272178 w 5273675"/>
              <a:gd name="connsiteY33" fmla="*/ 5659592 h 6011863"/>
              <a:gd name="connsiteX34" fmla="*/ 4230938 w 5273675"/>
              <a:gd name="connsiteY34" fmla="*/ 5699811 h 6011863"/>
              <a:gd name="connsiteX35" fmla="*/ 4230938 w 5273675"/>
              <a:gd name="connsiteY35" fmla="*/ 5727373 h 6011863"/>
              <a:gd name="connsiteX36" fmla="*/ 4272178 w 5273675"/>
              <a:gd name="connsiteY36" fmla="*/ 5767592 h 6011863"/>
              <a:gd name="connsiteX37" fmla="*/ 4327505 w 5273675"/>
              <a:gd name="connsiteY37" fmla="*/ 5767592 h 6011863"/>
              <a:gd name="connsiteX38" fmla="*/ 4368746 w 5273675"/>
              <a:gd name="connsiteY38" fmla="*/ 5727373 h 6011863"/>
              <a:gd name="connsiteX39" fmla="*/ 4368746 w 5273675"/>
              <a:gd name="connsiteY39" fmla="*/ 5699811 h 6011863"/>
              <a:gd name="connsiteX40" fmla="*/ 4327505 w 5273675"/>
              <a:gd name="connsiteY40" fmla="*/ 5659592 h 6011863"/>
              <a:gd name="connsiteX41" fmla="*/ 4029150 w 5273675"/>
              <a:gd name="connsiteY41" fmla="*/ 5659592 h 6011863"/>
              <a:gd name="connsiteX42" fmla="*/ 4029150 w 5273675"/>
              <a:gd name="connsiteY42" fmla="*/ 5767592 h 6011863"/>
              <a:gd name="connsiteX43" fmla="*/ 4054875 w 5273675"/>
              <a:gd name="connsiteY43" fmla="*/ 5767592 h 6011863"/>
              <a:gd name="connsiteX44" fmla="*/ 4054875 w 5273675"/>
              <a:gd name="connsiteY44" fmla="*/ 5724923 h 6011863"/>
              <a:gd name="connsiteX45" fmla="*/ 4087949 w 5273675"/>
              <a:gd name="connsiteY45" fmla="*/ 5724923 h 6011863"/>
              <a:gd name="connsiteX46" fmla="*/ 4132251 w 5273675"/>
              <a:gd name="connsiteY46" fmla="*/ 5767592 h 6011863"/>
              <a:gd name="connsiteX47" fmla="*/ 4168387 w 5273675"/>
              <a:gd name="connsiteY47" fmla="*/ 5767592 h 6011863"/>
              <a:gd name="connsiteX48" fmla="*/ 4111018 w 5273675"/>
              <a:gd name="connsiteY48" fmla="*/ 5713286 h 6011863"/>
              <a:gd name="connsiteX49" fmla="*/ 4167367 w 5273675"/>
              <a:gd name="connsiteY49" fmla="*/ 5659592 h 6011863"/>
              <a:gd name="connsiteX50" fmla="*/ 4133272 w 5273675"/>
              <a:gd name="connsiteY50" fmla="*/ 5659592 h 6011863"/>
              <a:gd name="connsiteX51" fmla="*/ 4088969 w 5273675"/>
              <a:gd name="connsiteY51" fmla="*/ 5701649 h 6011863"/>
              <a:gd name="connsiteX52" fmla="*/ 4054875 w 5273675"/>
              <a:gd name="connsiteY52" fmla="*/ 5701649 h 6011863"/>
              <a:gd name="connsiteX53" fmla="*/ 4054875 w 5273675"/>
              <a:gd name="connsiteY53" fmla="*/ 5659592 h 6011863"/>
              <a:gd name="connsiteX54" fmla="*/ 3860550 w 5273675"/>
              <a:gd name="connsiteY54" fmla="*/ 5659592 h 6011863"/>
              <a:gd name="connsiteX55" fmla="*/ 3875250 w 5273675"/>
              <a:gd name="connsiteY55" fmla="*/ 5682049 h 6011863"/>
              <a:gd name="connsiteX56" fmla="*/ 3935069 w 5273675"/>
              <a:gd name="connsiteY56" fmla="*/ 5682049 h 6011863"/>
              <a:gd name="connsiteX57" fmla="*/ 3949360 w 5273675"/>
              <a:gd name="connsiteY57" fmla="*/ 5659592 h 6011863"/>
              <a:gd name="connsiteX58" fmla="*/ 3848301 w 5273675"/>
              <a:gd name="connsiteY58" fmla="*/ 5659592 h 6011863"/>
              <a:gd name="connsiteX59" fmla="*/ 3824619 w 5273675"/>
              <a:gd name="connsiteY59" fmla="*/ 5684499 h 6011863"/>
              <a:gd name="connsiteX60" fmla="*/ 3824619 w 5273675"/>
              <a:gd name="connsiteY60" fmla="*/ 5693482 h 6011863"/>
              <a:gd name="connsiteX61" fmla="*/ 3855242 w 5273675"/>
              <a:gd name="connsiteY61" fmla="*/ 5723698 h 6011863"/>
              <a:gd name="connsiteX62" fmla="*/ 3926494 w 5273675"/>
              <a:gd name="connsiteY62" fmla="*/ 5723698 h 6011863"/>
              <a:gd name="connsiteX63" fmla="*/ 3926494 w 5273675"/>
              <a:gd name="connsiteY63" fmla="*/ 5736968 h 6011863"/>
              <a:gd name="connsiteX64" fmla="*/ 3918736 w 5273675"/>
              <a:gd name="connsiteY64" fmla="*/ 5744726 h 6011863"/>
              <a:gd name="connsiteX65" fmla="*/ 3835847 w 5273675"/>
              <a:gd name="connsiteY65" fmla="*/ 5744726 h 6011863"/>
              <a:gd name="connsiteX66" fmla="*/ 3821556 w 5273675"/>
              <a:gd name="connsiteY66" fmla="*/ 5767592 h 6011863"/>
              <a:gd name="connsiteX67" fmla="*/ 3921186 w 5273675"/>
              <a:gd name="connsiteY67" fmla="*/ 5767592 h 6011863"/>
              <a:gd name="connsiteX68" fmla="*/ 3951810 w 5273675"/>
              <a:gd name="connsiteY68" fmla="*/ 5737377 h 6011863"/>
              <a:gd name="connsiteX69" fmla="*/ 3951810 w 5273675"/>
              <a:gd name="connsiteY69" fmla="*/ 5725535 h 6011863"/>
              <a:gd name="connsiteX70" fmla="*/ 3926698 w 5273675"/>
              <a:gd name="connsiteY70" fmla="*/ 5700832 h 6011863"/>
              <a:gd name="connsiteX71" fmla="*/ 3857692 w 5273675"/>
              <a:gd name="connsiteY71" fmla="*/ 5700832 h 6011863"/>
              <a:gd name="connsiteX72" fmla="*/ 3849934 w 5273675"/>
              <a:gd name="connsiteY72" fmla="*/ 5693074 h 6011863"/>
              <a:gd name="connsiteX73" fmla="*/ 3849934 w 5273675"/>
              <a:gd name="connsiteY73" fmla="*/ 5659592 h 6011863"/>
              <a:gd name="connsiteX74" fmla="*/ 0 w 5273675"/>
              <a:gd name="connsiteY74" fmla="*/ 0 h 6011863"/>
              <a:gd name="connsiteX75" fmla="*/ 5273675 w 5273675"/>
              <a:gd name="connsiteY75" fmla="*/ 0 h 6011863"/>
              <a:gd name="connsiteX76" fmla="*/ 5273675 w 5273675"/>
              <a:gd name="connsiteY76" fmla="*/ 6011863 h 6011863"/>
              <a:gd name="connsiteX77" fmla="*/ 0 w 5273675"/>
              <a:gd name="connsiteY77" fmla="*/ 6011863 h 6011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</a:cxnLst>
            <a:rect l="l" t="t" r="r" b="b"/>
            <a:pathLst>
              <a:path w="5273675" h="6011863">
                <a:moveTo>
                  <a:pt x="4487654" y="5682866"/>
                </a:moveTo>
                <a:lnTo>
                  <a:pt x="4551760" y="5682866"/>
                </a:lnTo>
                <a:cubicBezTo>
                  <a:pt x="4562377" y="5682866"/>
                  <a:pt x="4569114" y="5689399"/>
                  <a:pt x="4569114" y="5699607"/>
                </a:cubicBezTo>
                <a:lnTo>
                  <a:pt x="4569114" y="5727577"/>
                </a:lnTo>
                <a:cubicBezTo>
                  <a:pt x="4569114" y="5737785"/>
                  <a:pt x="4562377" y="5744318"/>
                  <a:pt x="4551760" y="5744318"/>
                </a:cubicBezTo>
                <a:lnTo>
                  <a:pt x="4487654" y="5744318"/>
                </a:lnTo>
                <a:close/>
                <a:moveTo>
                  <a:pt x="4272791" y="5682866"/>
                </a:moveTo>
                <a:lnTo>
                  <a:pt x="4326893" y="5682866"/>
                </a:lnTo>
                <a:cubicBezTo>
                  <a:pt x="4336692" y="5682866"/>
                  <a:pt x="4343022" y="5688991"/>
                  <a:pt x="4343022" y="5698586"/>
                </a:cubicBezTo>
                <a:lnTo>
                  <a:pt x="4343022" y="5728598"/>
                </a:lnTo>
                <a:cubicBezTo>
                  <a:pt x="4343022" y="5738194"/>
                  <a:pt x="4336692" y="5744318"/>
                  <a:pt x="4326893" y="5744318"/>
                </a:cubicBezTo>
                <a:lnTo>
                  <a:pt x="4272791" y="5744318"/>
                </a:lnTo>
                <a:cubicBezTo>
                  <a:pt x="4262991" y="5744318"/>
                  <a:pt x="4256662" y="5738193"/>
                  <a:pt x="4256662" y="5728598"/>
                </a:cubicBezTo>
                <a:lnTo>
                  <a:pt x="4256662" y="5698586"/>
                </a:lnTo>
                <a:cubicBezTo>
                  <a:pt x="4256662" y="5688991"/>
                  <a:pt x="4262991" y="5682866"/>
                  <a:pt x="4272791" y="5682866"/>
                </a:cubicBezTo>
                <a:close/>
                <a:moveTo>
                  <a:pt x="4745604" y="5679803"/>
                </a:moveTo>
                <a:lnTo>
                  <a:pt x="4771539" y="5725739"/>
                </a:lnTo>
                <a:lnTo>
                  <a:pt x="4719676" y="5725739"/>
                </a:lnTo>
                <a:close/>
                <a:moveTo>
                  <a:pt x="4728046" y="5659592"/>
                </a:moveTo>
                <a:lnTo>
                  <a:pt x="4667412" y="5767592"/>
                </a:lnTo>
                <a:lnTo>
                  <a:pt x="4696202" y="5767592"/>
                </a:lnTo>
                <a:lnTo>
                  <a:pt x="4719067" y="5726964"/>
                </a:lnTo>
                <a:lnTo>
                  <a:pt x="4732952" y="5749014"/>
                </a:lnTo>
                <a:lnTo>
                  <a:pt x="4784600" y="5749014"/>
                </a:lnTo>
                <a:lnTo>
                  <a:pt x="4795014" y="5767592"/>
                </a:lnTo>
                <a:lnTo>
                  <a:pt x="4824413" y="5767592"/>
                </a:lnTo>
                <a:lnTo>
                  <a:pt x="4763779" y="5659592"/>
                </a:lnTo>
                <a:close/>
                <a:moveTo>
                  <a:pt x="4461930" y="5659592"/>
                </a:moveTo>
                <a:lnTo>
                  <a:pt x="4461930" y="5767592"/>
                </a:lnTo>
                <a:lnTo>
                  <a:pt x="4552373" y="5767592"/>
                </a:lnTo>
                <a:cubicBezTo>
                  <a:pt x="4579322" y="5767592"/>
                  <a:pt x="4594836" y="5752076"/>
                  <a:pt x="4594836" y="5726352"/>
                </a:cubicBezTo>
                <a:lnTo>
                  <a:pt x="4594836" y="5700832"/>
                </a:lnTo>
                <a:cubicBezTo>
                  <a:pt x="4594836" y="5675108"/>
                  <a:pt x="4579322" y="5659592"/>
                  <a:pt x="4552373" y="5659592"/>
                </a:cubicBezTo>
                <a:close/>
                <a:moveTo>
                  <a:pt x="4272178" y="5659592"/>
                </a:moveTo>
                <a:cubicBezTo>
                  <a:pt x="4246045" y="5659592"/>
                  <a:pt x="4230938" y="5674700"/>
                  <a:pt x="4230938" y="5699811"/>
                </a:cubicBezTo>
                <a:lnTo>
                  <a:pt x="4230938" y="5727373"/>
                </a:lnTo>
                <a:cubicBezTo>
                  <a:pt x="4230938" y="5752484"/>
                  <a:pt x="4246046" y="5767592"/>
                  <a:pt x="4272178" y="5767592"/>
                </a:cubicBezTo>
                <a:lnTo>
                  <a:pt x="4327505" y="5767592"/>
                </a:lnTo>
                <a:cubicBezTo>
                  <a:pt x="4353638" y="5767592"/>
                  <a:pt x="4368746" y="5752484"/>
                  <a:pt x="4368746" y="5727373"/>
                </a:cubicBezTo>
                <a:lnTo>
                  <a:pt x="4368746" y="5699811"/>
                </a:lnTo>
                <a:cubicBezTo>
                  <a:pt x="4368746" y="5674700"/>
                  <a:pt x="4353637" y="5659592"/>
                  <a:pt x="4327505" y="5659592"/>
                </a:cubicBezTo>
                <a:close/>
                <a:moveTo>
                  <a:pt x="4029150" y="5659592"/>
                </a:moveTo>
                <a:lnTo>
                  <a:pt x="4029150" y="5767592"/>
                </a:lnTo>
                <a:lnTo>
                  <a:pt x="4054875" y="5767592"/>
                </a:lnTo>
                <a:lnTo>
                  <a:pt x="4054875" y="5724923"/>
                </a:lnTo>
                <a:lnTo>
                  <a:pt x="4087949" y="5724923"/>
                </a:lnTo>
                <a:lnTo>
                  <a:pt x="4132251" y="5767592"/>
                </a:lnTo>
                <a:lnTo>
                  <a:pt x="4168387" y="5767592"/>
                </a:lnTo>
                <a:lnTo>
                  <a:pt x="4111018" y="5713286"/>
                </a:lnTo>
                <a:lnTo>
                  <a:pt x="4167367" y="5659592"/>
                </a:lnTo>
                <a:lnTo>
                  <a:pt x="4133272" y="5659592"/>
                </a:lnTo>
                <a:lnTo>
                  <a:pt x="4088969" y="5701649"/>
                </a:lnTo>
                <a:lnTo>
                  <a:pt x="4054875" y="5701649"/>
                </a:lnTo>
                <a:lnTo>
                  <a:pt x="4054875" y="5659592"/>
                </a:lnTo>
                <a:close/>
                <a:moveTo>
                  <a:pt x="3860550" y="5659592"/>
                </a:moveTo>
                <a:lnTo>
                  <a:pt x="3875250" y="5682049"/>
                </a:lnTo>
                <a:lnTo>
                  <a:pt x="3935069" y="5682049"/>
                </a:lnTo>
                <a:lnTo>
                  <a:pt x="3949360" y="5659592"/>
                </a:lnTo>
                <a:close/>
                <a:moveTo>
                  <a:pt x="3848301" y="5659592"/>
                </a:moveTo>
                <a:cubicBezTo>
                  <a:pt x="3833806" y="5659592"/>
                  <a:pt x="3824619" y="5668983"/>
                  <a:pt x="3824619" y="5684499"/>
                </a:cubicBezTo>
                <a:lnTo>
                  <a:pt x="3824619" y="5693482"/>
                </a:lnTo>
                <a:cubicBezTo>
                  <a:pt x="3824619" y="5714307"/>
                  <a:pt x="3834010" y="5723698"/>
                  <a:pt x="3855242" y="5723698"/>
                </a:cubicBezTo>
                <a:lnTo>
                  <a:pt x="3926494" y="5723698"/>
                </a:lnTo>
                <a:lnTo>
                  <a:pt x="3926494" y="5736968"/>
                </a:lnTo>
                <a:cubicBezTo>
                  <a:pt x="3926494" y="5741664"/>
                  <a:pt x="3923432" y="5744726"/>
                  <a:pt x="3918736" y="5744726"/>
                </a:cubicBezTo>
                <a:lnTo>
                  <a:pt x="3835847" y="5744726"/>
                </a:lnTo>
                <a:lnTo>
                  <a:pt x="3821556" y="5767592"/>
                </a:lnTo>
                <a:lnTo>
                  <a:pt x="3921186" y="5767592"/>
                </a:lnTo>
                <a:cubicBezTo>
                  <a:pt x="3941806" y="5767592"/>
                  <a:pt x="3951810" y="5757588"/>
                  <a:pt x="3951810" y="5737377"/>
                </a:cubicBezTo>
                <a:lnTo>
                  <a:pt x="3951810" y="5725535"/>
                </a:lnTo>
                <a:cubicBezTo>
                  <a:pt x="3951810" y="5710223"/>
                  <a:pt x="3942418" y="5700832"/>
                  <a:pt x="3926698" y="5700832"/>
                </a:cubicBezTo>
                <a:lnTo>
                  <a:pt x="3857692" y="5700832"/>
                </a:lnTo>
                <a:cubicBezTo>
                  <a:pt x="3852997" y="5700832"/>
                  <a:pt x="3849934" y="5697770"/>
                  <a:pt x="3849934" y="5693074"/>
                </a:cubicBezTo>
                <a:lnTo>
                  <a:pt x="3849934" y="5659592"/>
                </a:lnTo>
                <a:close/>
                <a:moveTo>
                  <a:pt x="0" y="0"/>
                </a:moveTo>
                <a:lnTo>
                  <a:pt x="5273675" y="0"/>
                </a:lnTo>
                <a:lnTo>
                  <a:pt x="5273675" y="6011863"/>
                </a:lnTo>
                <a:lnTo>
                  <a:pt x="0" y="6011863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Obrázek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310DF32-F382-E76F-052A-ADD2ECABD4D2}"/>
              </a:ext>
            </a:extLst>
          </p:cNvPr>
          <p:cNvSpPr/>
          <p:nvPr userDrawn="1"/>
        </p:nvSpPr>
        <p:spPr>
          <a:xfrm>
            <a:off x="0" y="0"/>
            <a:ext cx="5418138" cy="60118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noProof="0"/>
          </a:p>
        </p:txBody>
      </p:sp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449263" y="1314450"/>
            <a:ext cx="4536000" cy="4032250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/>
              <a:t>První úroveň</a:t>
            </a:r>
          </a:p>
          <a:p>
            <a:pPr lvl="1"/>
            <a:r>
              <a:rPr lang="cs-CZ" noProof="0"/>
              <a:t>Druhá úroveň</a:t>
            </a:r>
          </a:p>
          <a:p>
            <a:pPr lvl="2"/>
            <a:r>
              <a:rPr lang="cs-CZ" noProof="0"/>
              <a:t>Třetí úroveň</a:t>
            </a:r>
          </a:p>
          <a:p>
            <a:pPr lvl="3"/>
            <a:r>
              <a:rPr lang="cs-CZ" noProof="0"/>
              <a:t>Čtvrtá úroveň</a:t>
            </a:r>
          </a:p>
          <a:p>
            <a:pPr lvl="4"/>
            <a:r>
              <a:rPr lang="cs-CZ" noProof="0"/>
              <a:t>Pátá úroveň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| 08.11. 2023 | Odborná praxe | GQD-1 | Ondřej Hlaváček</a:t>
            </a:r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648000"/>
            <a:ext cx="4535999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/>
              <a:t>Podnadpis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>
          <a:xfrm>
            <a:off x="449264" y="269875"/>
            <a:ext cx="4535999" cy="360000"/>
          </a:xfrm>
        </p:spPr>
        <p:txBody>
          <a:bodyPr/>
          <a:lstStyle>
            <a:lvl1pPr>
              <a:defRPr/>
            </a:lvl1pPr>
          </a:lstStyle>
          <a:p>
            <a:r>
              <a:rPr lang="cs-CZ" noProof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2590493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| 08.11. 2023 | Odborná praxe | GQD-1 | Ondřej Hlaváček</a:t>
            </a:r>
          </a:p>
        </p:txBody>
      </p:sp>
      <p:sp>
        <p:nvSpPr>
          <p:cNvPr id="9" name="Zástupný symbol pro text 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1314450"/>
            <a:ext cx="3168650" cy="4032250"/>
          </a:xfrm>
        </p:spPr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/>
              <a:t>První úroveň</a:t>
            </a:r>
          </a:p>
          <a:p>
            <a:pPr lvl="1"/>
            <a:r>
              <a:rPr lang="cs-CZ" noProof="0"/>
              <a:t>Druhá úroveň</a:t>
            </a:r>
          </a:p>
          <a:p>
            <a:pPr lvl="2"/>
            <a:r>
              <a:rPr lang="cs-CZ" noProof="0"/>
              <a:t>Třetí úroveň</a:t>
            </a:r>
          </a:p>
          <a:p>
            <a:pPr lvl="3"/>
            <a:r>
              <a:rPr lang="cs-CZ" noProof="0"/>
              <a:t>Čtvrtá úroveň</a:t>
            </a:r>
          </a:p>
          <a:p>
            <a:pPr lvl="4"/>
            <a:r>
              <a:rPr lang="cs-CZ" noProof="0"/>
              <a:t>Pátá úroveň</a:t>
            </a:r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762375" y="1314450"/>
            <a:ext cx="6480175" cy="4032250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Obrázek</a:t>
            </a:r>
          </a:p>
        </p:txBody>
      </p:sp>
      <p:sp>
        <p:nvSpPr>
          <p:cNvPr id="15" name="Zástupný symbol pro text 28"/>
          <p:cNvSpPr>
            <a:spLocks noGrp="1"/>
          </p:cNvSpPr>
          <p:nvPr>
            <p:ph type="body" sz="quarter" idx="14" hasCustomPrompt="1"/>
          </p:nvPr>
        </p:nvSpPr>
        <p:spPr>
          <a:xfrm>
            <a:off x="449263" y="648000"/>
            <a:ext cx="9793287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/>
              <a:t>Podnadpis</a:t>
            </a:r>
          </a:p>
        </p:txBody>
      </p:sp>
      <p:sp>
        <p:nvSpPr>
          <p:cNvPr id="4" name="Nadpis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3637618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&amp;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| 08.11. 2023 | Odborná praxe | GQD-1 | Ondřej Hlaváček</a:t>
            </a:r>
          </a:p>
        </p:txBody>
      </p:sp>
      <p:sp>
        <p:nvSpPr>
          <p:cNvPr id="6" name="Zástupný symbol pro obrázek 10">
            <a:extLst>
              <a:ext uri="{FF2B5EF4-FFF2-40B4-BE49-F238E27FC236}">
                <a16:creationId xmlns:a16="http://schemas.microsoft.com/office/drawing/2014/main" id="{D342297C-903D-33B7-EE74-B657A96671C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0691813" cy="5346700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Obrázek</a:t>
            </a:r>
          </a:p>
        </p:txBody>
      </p:sp>
    </p:spTree>
    <p:extLst>
      <p:ext uri="{BB962C8B-B14F-4D97-AF65-F5344CB8AC3E}">
        <p14:creationId xmlns:p14="http://schemas.microsoft.com/office/powerpoint/2010/main" val="2983540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| 08.11. 2023 | Odborná praxe | GQD-1 | Ondřej Hlaváček</a:t>
            </a:r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449263" y="900000"/>
            <a:ext cx="9793288" cy="4446700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Obrázek</a:t>
            </a:r>
          </a:p>
        </p:txBody>
      </p:sp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3095208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ástupný symbol pro text 12">
            <a:extLst>
              <a:ext uri="{FF2B5EF4-FFF2-40B4-BE49-F238E27FC236}">
                <a16:creationId xmlns:a16="http://schemas.microsoft.com/office/drawing/2014/main" id="{A6B2640B-D782-F371-CA4F-1DE716E6430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9263" y="3834000"/>
            <a:ext cx="3167934" cy="1512000"/>
          </a:xfrm>
        </p:spPr>
        <p:txBody>
          <a:bodyPr anchor="t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/>
              <a:t>Detaily</a:t>
            </a:r>
          </a:p>
        </p:txBody>
      </p:sp>
      <p:sp>
        <p:nvSpPr>
          <p:cNvPr id="10" name="Zástupný symbol pro text 12">
            <a:extLst>
              <a:ext uri="{FF2B5EF4-FFF2-40B4-BE49-F238E27FC236}">
                <a16:creationId xmlns:a16="http://schemas.microsoft.com/office/drawing/2014/main" id="{495C32C4-7CA1-C2BF-FBF5-BF42F7AD34D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62375" y="3834000"/>
            <a:ext cx="3167934" cy="1512000"/>
          </a:xfrm>
        </p:spPr>
        <p:txBody>
          <a:bodyPr anchor="t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/>
              <a:t>Detaily</a:t>
            </a:r>
          </a:p>
        </p:txBody>
      </p:sp>
      <p:sp>
        <p:nvSpPr>
          <p:cNvPr id="21" name="Zástupný symbol pro text 12">
            <a:extLst>
              <a:ext uri="{FF2B5EF4-FFF2-40B4-BE49-F238E27FC236}">
                <a16:creationId xmlns:a16="http://schemas.microsoft.com/office/drawing/2014/main" id="{F9F06556-A77B-B4AC-B11D-2942230DC96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073142" y="3834000"/>
            <a:ext cx="3167934" cy="1512000"/>
          </a:xfrm>
        </p:spPr>
        <p:txBody>
          <a:bodyPr anchor="t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/>
              <a:t>Detaily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| 08.11. 2023 | Odborná praxe | GQD-1 | Ondřej Hlaváček</a:t>
            </a:r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449979" y="1314449"/>
            <a:ext cx="3167934" cy="2087563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Obrázek</a:t>
            </a:r>
          </a:p>
        </p:txBody>
      </p:sp>
      <p:sp>
        <p:nvSpPr>
          <p:cNvPr id="13" name="Zástupný symbol pro text 12"/>
          <p:cNvSpPr>
            <a:spLocks noGrp="1"/>
          </p:cNvSpPr>
          <p:nvPr>
            <p:ph type="body" sz="quarter" idx="14" hasCustomPrompt="1"/>
          </p:nvPr>
        </p:nvSpPr>
        <p:spPr>
          <a:xfrm>
            <a:off x="450000" y="3510000"/>
            <a:ext cx="3167934" cy="216000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 b="1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/>
              <a:t>Titulek</a:t>
            </a:r>
          </a:p>
        </p:txBody>
      </p:sp>
      <p:sp>
        <p:nvSpPr>
          <p:cNvPr id="24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648000"/>
            <a:ext cx="9793287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/>
              <a:t>Podnadpis</a:t>
            </a:r>
          </a:p>
        </p:txBody>
      </p:sp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/>
              <a:t>Nadpis (shrnutí stránky)</a:t>
            </a:r>
          </a:p>
        </p:txBody>
      </p:sp>
      <p:sp>
        <p:nvSpPr>
          <p:cNvPr id="6" name="Zástupný symbol pro obrázek 10">
            <a:extLst>
              <a:ext uri="{FF2B5EF4-FFF2-40B4-BE49-F238E27FC236}">
                <a16:creationId xmlns:a16="http://schemas.microsoft.com/office/drawing/2014/main" id="{4D25A0D5-25EA-D8DF-CB51-891DE68E94D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763091" y="1314449"/>
            <a:ext cx="3167934" cy="2087563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Obrázek</a:t>
            </a:r>
          </a:p>
        </p:txBody>
      </p:sp>
      <p:sp>
        <p:nvSpPr>
          <p:cNvPr id="9" name="Zástupný symbol pro text 12">
            <a:extLst>
              <a:ext uri="{FF2B5EF4-FFF2-40B4-BE49-F238E27FC236}">
                <a16:creationId xmlns:a16="http://schemas.microsoft.com/office/drawing/2014/main" id="{7460970A-5969-77C3-EB7C-1FF997745C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63112" y="3510000"/>
            <a:ext cx="3167934" cy="216000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 b="1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/>
              <a:t>Titulek</a:t>
            </a:r>
          </a:p>
        </p:txBody>
      </p:sp>
      <p:sp>
        <p:nvSpPr>
          <p:cNvPr id="12" name="Zástupný symbol pro obrázek 10">
            <a:extLst>
              <a:ext uri="{FF2B5EF4-FFF2-40B4-BE49-F238E27FC236}">
                <a16:creationId xmlns:a16="http://schemas.microsoft.com/office/drawing/2014/main" id="{4E680B22-40D0-9296-B85E-0D1107B14EC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7073858" y="1314449"/>
            <a:ext cx="3167934" cy="2087563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Obrázek</a:t>
            </a:r>
          </a:p>
        </p:txBody>
      </p:sp>
      <p:sp>
        <p:nvSpPr>
          <p:cNvPr id="20" name="Zástupný symbol pro text 12">
            <a:extLst>
              <a:ext uri="{FF2B5EF4-FFF2-40B4-BE49-F238E27FC236}">
                <a16:creationId xmlns:a16="http://schemas.microsoft.com/office/drawing/2014/main" id="{4DE1D234-3B1E-4C6E-1E4D-8FA494E038D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073879" y="3510000"/>
            <a:ext cx="3167934" cy="216000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 b="1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/>
              <a:t>Titulek</a:t>
            </a:r>
          </a:p>
        </p:txBody>
      </p:sp>
    </p:spTree>
    <p:extLst>
      <p:ext uri="{BB962C8B-B14F-4D97-AF65-F5344CB8AC3E}">
        <p14:creationId xmlns:p14="http://schemas.microsoft.com/office/powerpoint/2010/main" val="968191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tli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| 08.11. 2023 | Odborná praxe | GQD-1 | Ondřej Hlaváček</a:t>
            </a:r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449979" y="1314450"/>
            <a:ext cx="4823696" cy="1691100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Obrázek</a:t>
            </a:r>
          </a:p>
        </p:txBody>
      </p:sp>
      <p:sp>
        <p:nvSpPr>
          <p:cNvPr id="13" name="Zástupný symbol pro text 12"/>
          <p:cNvSpPr>
            <a:spLocks noGrp="1"/>
          </p:cNvSpPr>
          <p:nvPr>
            <p:ph type="body" sz="quarter" idx="14" hasCustomPrompt="1"/>
          </p:nvPr>
        </p:nvSpPr>
        <p:spPr>
          <a:xfrm>
            <a:off x="449979" y="3077550"/>
            <a:ext cx="4823696" cy="180000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/>
              <a:t>Titulek</a:t>
            </a:r>
          </a:p>
        </p:txBody>
      </p:sp>
      <p:sp>
        <p:nvSpPr>
          <p:cNvPr id="14" name="Zástupný symbol pro obrázek 10"/>
          <p:cNvSpPr>
            <a:spLocks noGrp="1"/>
          </p:cNvSpPr>
          <p:nvPr>
            <p:ph type="pic" sz="quarter" idx="15" hasCustomPrompt="1"/>
          </p:nvPr>
        </p:nvSpPr>
        <p:spPr>
          <a:xfrm>
            <a:off x="449263" y="3402900"/>
            <a:ext cx="4823696" cy="1691100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Obrázek</a:t>
            </a:r>
          </a:p>
        </p:txBody>
      </p:sp>
      <p:sp>
        <p:nvSpPr>
          <p:cNvPr id="15" name="Zástupný symbol pro text 12"/>
          <p:cNvSpPr>
            <a:spLocks noGrp="1"/>
          </p:cNvSpPr>
          <p:nvPr>
            <p:ph type="body" sz="quarter" idx="16" hasCustomPrompt="1"/>
          </p:nvPr>
        </p:nvSpPr>
        <p:spPr>
          <a:xfrm>
            <a:off x="449263" y="5166000"/>
            <a:ext cx="4823696" cy="180000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/>
              <a:t>Titulek</a:t>
            </a:r>
          </a:p>
        </p:txBody>
      </p:sp>
      <p:sp>
        <p:nvSpPr>
          <p:cNvPr id="16" name="Zástupný symbol pro obrázek 10"/>
          <p:cNvSpPr>
            <a:spLocks noGrp="1"/>
          </p:cNvSpPr>
          <p:nvPr>
            <p:ph type="pic" sz="quarter" idx="17" hasCustomPrompt="1"/>
          </p:nvPr>
        </p:nvSpPr>
        <p:spPr>
          <a:xfrm>
            <a:off x="5419570" y="1314450"/>
            <a:ext cx="4823696" cy="1691100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Obrázek</a:t>
            </a:r>
          </a:p>
        </p:txBody>
      </p:sp>
      <p:sp>
        <p:nvSpPr>
          <p:cNvPr id="17" name="Zástupný symbol pro text 12"/>
          <p:cNvSpPr>
            <a:spLocks noGrp="1"/>
          </p:cNvSpPr>
          <p:nvPr>
            <p:ph type="body" sz="quarter" idx="18" hasCustomPrompt="1"/>
          </p:nvPr>
        </p:nvSpPr>
        <p:spPr>
          <a:xfrm>
            <a:off x="5419570" y="3077550"/>
            <a:ext cx="4823696" cy="180000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/>
              <a:t>Titulek</a:t>
            </a:r>
          </a:p>
        </p:txBody>
      </p:sp>
      <p:sp>
        <p:nvSpPr>
          <p:cNvPr id="18" name="Zástupný symbol pro obrázek 10"/>
          <p:cNvSpPr>
            <a:spLocks noGrp="1"/>
          </p:cNvSpPr>
          <p:nvPr>
            <p:ph type="pic" sz="quarter" idx="19" hasCustomPrompt="1"/>
          </p:nvPr>
        </p:nvSpPr>
        <p:spPr>
          <a:xfrm>
            <a:off x="5418854" y="3402900"/>
            <a:ext cx="4823696" cy="1691100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Obrázek</a:t>
            </a:r>
          </a:p>
        </p:txBody>
      </p:sp>
      <p:sp>
        <p:nvSpPr>
          <p:cNvPr id="19" name="Zástupný symbol pro text 12"/>
          <p:cNvSpPr>
            <a:spLocks noGrp="1"/>
          </p:cNvSpPr>
          <p:nvPr>
            <p:ph type="body" sz="quarter" idx="20" hasCustomPrompt="1"/>
          </p:nvPr>
        </p:nvSpPr>
        <p:spPr>
          <a:xfrm>
            <a:off x="5418854" y="5166000"/>
            <a:ext cx="4823696" cy="180000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/>
              <a:t>Titulek</a:t>
            </a:r>
          </a:p>
        </p:txBody>
      </p:sp>
      <p:sp>
        <p:nvSpPr>
          <p:cNvPr id="24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648000"/>
            <a:ext cx="9793287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/>
              <a:t>Podnadpis</a:t>
            </a:r>
          </a:p>
        </p:txBody>
      </p:sp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2953205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pro číslo snímku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7" name="Zástupný symbol pro zápatí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| 08.11. 2023 | Odborná praxe | GQD-1 | Ondřej Hlaváček</a:t>
            </a:r>
          </a:p>
        </p:txBody>
      </p:sp>
      <p:sp>
        <p:nvSpPr>
          <p:cNvPr id="10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648000"/>
            <a:ext cx="9793288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/>
              <a:t>Podnadpis</a:t>
            </a:r>
          </a:p>
        </p:txBody>
      </p:sp>
      <p:sp>
        <p:nvSpPr>
          <p:cNvPr id="3" name="Nadpis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cs-CZ" noProof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1925856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Emera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5CB9963D-4194-84A4-A5CA-461A720BDD8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39693" y="5659592"/>
            <a:ext cx="1002857" cy="108000"/>
          </a:xfrm>
          <a:prstGeom prst="rect">
            <a:avLst/>
          </a:prstGeom>
        </p:spPr>
      </p:pic>
      <p:sp>
        <p:nvSpPr>
          <p:cNvPr id="6" name="Zástupný symbol pro číslo snímku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7" name="Zástupný symbol pro zápatí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| 08.11. 2023 | Odborná praxe | GQD-1 | Ondřej Hlaváček</a:t>
            </a:r>
          </a:p>
        </p:txBody>
      </p:sp>
      <p:sp>
        <p:nvSpPr>
          <p:cNvPr id="10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648000"/>
            <a:ext cx="9793288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cs-CZ" noProof="0"/>
              <a:t>Podnadpis</a:t>
            </a:r>
          </a:p>
        </p:txBody>
      </p:sp>
      <p:sp>
        <p:nvSpPr>
          <p:cNvPr id="3" name="Nadpis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cs-CZ" noProof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3147892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phic 13">
            <a:extLst>
              <a:ext uri="{FF2B5EF4-FFF2-40B4-BE49-F238E27FC236}">
                <a16:creationId xmlns:a16="http://schemas.microsoft.com/office/drawing/2014/main" id="{B8C2D215-3FCB-242D-A235-4DF1AF0721C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41200" y="5659200"/>
            <a:ext cx="1002857" cy="108000"/>
          </a:xfrm>
          <a:prstGeom prst="rect">
            <a:avLst/>
          </a:prstGeom>
        </p:spPr>
      </p:pic>
      <p:sp>
        <p:nvSpPr>
          <p:cNvPr id="20" name="Rectangle 8">
            <a:extLst>
              <a:ext uri="{FF2B5EF4-FFF2-40B4-BE49-F238E27FC236}">
                <a16:creationId xmlns:a16="http://schemas.microsoft.com/office/drawing/2014/main" id="{5459F715-91F7-0B24-F89E-0431C352C5F9}"/>
              </a:ext>
            </a:extLst>
          </p:cNvPr>
          <p:cNvSpPr/>
          <p:nvPr userDrawn="1"/>
        </p:nvSpPr>
        <p:spPr>
          <a:xfrm>
            <a:off x="0" y="-1"/>
            <a:ext cx="7132763" cy="6011863"/>
          </a:xfrm>
          <a:custGeom>
            <a:avLst/>
            <a:gdLst>
              <a:gd name="connsiteX0" fmla="*/ 0 w 7128000"/>
              <a:gd name="connsiteY0" fmla="*/ 0 h 6011863"/>
              <a:gd name="connsiteX1" fmla="*/ 7128000 w 7128000"/>
              <a:gd name="connsiteY1" fmla="*/ 0 h 6011863"/>
              <a:gd name="connsiteX2" fmla="*/ 7128000 w 7128000"/>
              <a:gd name="connsiteY2" fmla="*/ 6011863 h 6011863"/>
              <a:gd name="connsiteX3" fmla="*/ 0 w 7128000"/>
              <a:gd name="connsiteY3" fmla="*/ 6011863 h 6011863"/>
              <a:gd name="connsiteX4" fmla="*/ 0 w 7128000"/>
              <a:gd name="connsiteY4" fmla="*/ 0 h 6011863"/>
              <a:gd name="connsiteX0" fmla="*/ 0 w 7128000"/>
              <a:gd name="connsiteY0" fmla="*/ 0 h 6011863"/>
              <a:gd name="connsiteX1" fmla="*/ 7128000 w 7128000"/>
              <a:gd name="connsiteY1" fmla="*/ 0 h 6011863"/>
              <a:gd name="connsiteX2" fmla="*/ 5537325 w 7128000"/>
              <a:gd name="connsiteY2" fmla="*/ 6011863 h 6011863"/>
              <a:gd name="connsiteX3" fmla="*/ 0 w 7128000"/>
              <a:gd name="connsiteY3" fmla="*/ 6011863 h 6011863"/>
              <a:gd name="connsiteX4" fmla="*/ 0 w 7128000"/>
              <a:gd name="connsiteY4" fmla="*/ 0 h 6011863"/>
              <a:gd name="connsiteX0" fmla="*/ 0 w 7128000"/>
              <a:gd name="connsiteY0" fmla="*/ 0 h 6011863"/>
              <a:gd name="connsiteX1" fmla="*/ 7128000 w 7128000"/>
              <a:gd name="connsiteY1" fmla="*/ 0 h 6011863"/>
              <a:gd name="connsiteX2" fmla="*/ 5544469 w 7128000"/>
              <a:gd name="connsiteY2" fmla="*/ 6011863 h 6011863"/>
              <a:gd name="connsiteX3" fmla="*/ 0 w 7128000"/>
              <a:gd name="connsiteY3" fmla="*/ 6011863 h 6011863"/>
              <a:gd name="connsiteX4" fmla="*/ 0 w 7128000"/>
              <a:gd name="connsiteY4" fmla="*/ 0 h 6011863"/>
              <a:gd name="connsiteX0" fmla="*/ 0 w 7128000"/>
              <a:gd name="connsiteY0" fmla="*/ 0 h 6011863"/>
              <a:gd name="connsiteX1" fmla="*/ 7128000 w 7128000"/>
              <a:gd name="connsiteY1" fmla="*/ 0 h 6011863"/>
              <a:gd name="connsiteX2" fmla="*/ 5546850 w 7128000"/>
              <a:gd name="connsiteY2" fmla="*/ 6011863 h 6011863"/>
              <a:gd name="connsiteX3" fmla="*/ 0 w 7128000"/>
              <a:gd name="connsiteY3" fmla="*/ 6011863 h 6011863"/>
              <a:gd name="connsiteX4" fmla="*/ 0 w 7128000"/>
              <a:gd name="connsiteY4" fmla="*/ 0 h 6011863"/>
              <a:gd name="connsiteX0" fmla="*/ 0 w 7132763"/>
              <a:gd name="connsiteY0" fmla="*/ 0 h 6011863"/>
              <a:gd name="connsiteX1" fmla="*/ 7132763 w 7132763"/>
              <a:gd name="connsiteY1" fmla="*/ 0 h 6011863"/>
              <a:gd name="connsiteX2" fmla="*/ 5546850 w 7132763"/>
              <a:gd name="connsiteY2" fmla="*/ 6011863 h 6011863"/>
              <a:gd name="connsiteX3" fmla="*/ 0 w 7132763"/>
              <a:gd name="connsiteY3" fmla="*/ 6011863 h 6011863"/>
              <a:gd name="connsiteX4" fmla="*/ 0 w 7132763"/>
              <a:gd name="connsiteY4" fmla="*/ 0 h 6011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132763" h="6011863">
                <a:moveTo>
                  <a:pt x="0" y="0"/>
                </a:moveTo>
                <a:lnTo>
                  <a:pt x="7132763" y="0"/>
                </a:lnTo>
                <a:lnTo>
                  <a:pt x="5546850" y="6011863"/>
                </a:lnTo>
                <a:lnTo>
                  <a:pt x="0" y="601186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noProof="0"/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003878D3-764A-09F2-651C-204CDCBB266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544469" y="0"/>
            <a:ext cx="5147304" cy="6011862"/>
          </a:xfrm>
          <a:custGeom>
            <a:avLst/>
            <a:gdLst>
              <a:gd name="connsiteX0" fmla="*/ 4361322 w 5147304"/>
              <a:gd name="connsiteY0" fmla="*/ 5682474 h 6011862"/>
              <a:gd name="connsiteX1" fmla="*/ 4425429 w 5147304"/>
              <a:gd name="connsiteY1" fmla="*/ 5682474 h 6011862"/>
              <a:gd name="connsiteX2" fmla="*/ 4442782 w 5147304"/>
              <a:gd name="connsiteY2" fmla="*/ 5699215 h 6011862"/>
              <a:gd name="connsiteX3" fmla="*/ 4442782 w 5147304"/>
              <a:gd name="connsiteY3" fmla="*/ 5727185 h 6011862"/>
              <a:gd name="connsiteX4" fmla="*/ 4425429 w 5147304"/>
              <a:gd name="connsiteY4" fmla="*/ 5743926 h 6011862"/>
              <a:gd name="connsiteX5" fmla="*/ 4361322 w 5147304"/>
              <a:gd name="connsiteY5" fmla="*/ 5743926 h 6011862"/>
              <a:gd name="connsiteX6" fmla="*/ 4146459 w 5147304"/>
              <a:gd name="connsiteY6" fmla="*/ 5682474 h 6011862"/>
              <a:gd name="connsiteX7" fmla="*/ 4200561 w 5147304"/>
              <a:gd name="connsiteY7" fmla="*/ 5682474 h 6011862"/>
              <a:gd name="connsiteX8" fmla="*/ 4216690 w 5147304"/>
              <a:gd name="connsiteY8" fmla="*/ 5698194 h 6011862"/>
              <a:gd name="connsiteX9" fmla="*/ 4216690 w 5147304"/>
              <a:gd name="connsiteY9" fmla="*/ 5728206 h 6011862"/>
              <a:gd name="connsiteX10" fmla="*/ 4200561 w 5147304"/>
              <a:gd name="connsiteY10" fmla="*/ 5743926 h 6011862"/>
              <a:gd name="connsiteX11" fmla="*/ 4146459 w 5147304"/>
              <a:gd name="connsiteY11" fmla="*/ 5743926 h 6011862"/>
              <a:gd name="connsiteX12" fmla="*/ 4130330 w 5147304"/>
              <a:gd name="connsiteY12" fmla="*/ 5728206 h 6011862"/>
              <a:gd name="connsiteX13" fmla="*/ 4130330 w 5147304"/>
              <a:gd name="connsiteY13" fmla="*/ 5698194 h 6011862"/>
              <a:gd name="connsiteX14" fmla="*/ 4146459 w 5147304"/>
              <a:gd name="connsiteY14" fmla="*/ 5682474 h 6011862"/>
              <a:gd name="connsiteX15" fmla="*/ 4619272 w 5147304"/>
              <a:gd name="connsiteY15" fmla="*/ 5679412 h 6011862"/>
              <a:gd name="connsiteX16" fmla="*/ 4645207 w 5147304"/>
              <a:gd name="connsiteY16" fmla="*/ 5725347 h 6011862"/>
              <a:gd name="connsiteX17" fmla="*/ 4593344 w 5147304"/>
              <a:gd name="connsiteY17" fmla="*/ 5725347 h 6011862"/>
              <a:gd name="connsiteX18" fmla="*/ 4601714 w 5147304"/>
              <a:gd name="connsiteY18" fmla="*/ 5659200 h 6011862"/>
              <a:gd name="connsiteX19" fmla="*/ 4541080 w 5147304"/>
              <a:gd name="connsiteY19" fmla="*/ 5767200 h 6011862"/>
              <a:gd name="connsiteX20" fmla="*/ 4569870 w 5147304"/>
              <a:gd name="connsiteY20" fmla="*/ 5767200 h 6011862"/>
              <a:gd name="connsiteX21" fmla="*/ 4592735 w 5147304"/>
              <a:gd name="connsiteY21" fmla="*/ 5726572 h 6011862"/>
              <a:gd name="connsiteX22" fmla="*/ 4606620 w 5147304"/>
              <a:gd name="connsiteY22" fmla="*/ 5748622 h 6011862"/>
              <a:gd name="connsiteX23" fmla="*/ 4658268 w 5147304"/>
              <a:gd name="connsiteY23" fmla="*/ 5748622 h 6011862"/>
              <a:gd name="connsiteX24" fmla="*/ 4668682 w 5147304"/>
              <a:gd name="connsiteY24" fmla="*/ 5767200 h 6011862"/>
              <a:gd name="connsiteX25" fmla="*/ 4698081 w 5147304"/>
              <a:gd name="connsiteY25" fmla="*/ 5767200 h 6011862"/>
              <a:gd name="connsiteX26" fmla="*/ 4637447 w 5147304"/>
              <a:gd name="connsiteY26" fmla="*/ 5659200 h 6011862"/>
              <a:gd name="connsiteX27" fmla="*/ 4335598 w 5147304"/>
              <a:gd name="connsiteY27" fmla="*/ 5659200 h 6011862"/>
              <a:gd name="connsiteX28" fmla="*/ 4335598 w 5147304"/>
              <a:gd name="connsiteY28" fmla="*/ 5767200 h 6011862"/>
              <a:gd name="connsiteX29" fmla="*/ 4426041 w 5147304"/>
              <a:gd name="connsiteY29" fmla="*/ 5767200 h 6011862"/>
              <a:gd name="connsiteX30" fmla="*/ 4468504 w 5147304"/>
              <a:gd name="connsiteY30" fmla="*/ 5725960 h 6011862"/>
              <a:gd name="connsiteX31" fmla="*/ 4468504 w 5147304"/>
              <a:gd name="connsiteY31" fmla="*/ 5700440 h 6011862"/>
              <a:gd name="connsiteX32" fmla="*/ 4426041 w 5147304"/>
              <a:gd name="connsiteY32" fmla="*/ 5659200 h 6011862"/>
              <a:gd name="connsiteX33" fmla="*/ 4145846 w 5147304"/>
              <a:gd name="connsiteY33" fmla="*/ 5659200 h 6011862"/>
              <a:gd name="connsiteX34" fmla="*/ 4104606 w 5147304"/>
              <a:gd name="connsiteY34" fmla="*/ 5699419 h 6011862"/>
              <a:gd name="connsiteX35" fmla="*/ 4104606 w 5147304"/>
              <a:gd name="connsiteY35" fmla="*/ 5726981 h 6011862"/>
              <a:gd name="connsiteX36" fmla="*/ 4145846 w 5147304"/>
              <a:gd name="connsiteY36" fmla="*/ 5767200 h 6011862"/>
              <a:gd name="connsiteX37" fmla="*/ 4201173 w 5147304"/>
              <a:gd name="connsiteY37" fmla="*/ 5767200 h 6011862"/>
              <a:gd name="connsiteX38" fmla="*/ 4242414 w 5147304"/>
              <a:gd name="connsiteY38" fmla="*/ 5726981 h 6011862"/>
              <a:gd name="connsiteX39" fmla="*/ 4242414 w 5147304"/>
              <a:gd name="connsiteY39" fmla="*/ 5699419 h 6011862"/>
              <a:gd name="connsiteX40" fmla="*/ 4201173 w 5147304"/>
              <a:gd name="connsiteY40" fmla="*/ 5659200 h 6011862"/>
              <a:gd name="connsiteX41" fmla="*/ 3902818 w 5147304"/>
              <a:gd name="connsiteY41" fmla="*/ 5659200 h 6011862"/>
              <a:gd name="connsiteX42" fmla="*/ 3902818 w 5147304"/>
              <a:gd name="connsiteY42" fmla="*/ 5767200 h 6011862"/>
              <a:gd name="connsiteX43" fmla="*/ 3928543 w 5147304"/>
              <a:gd name="connsiteY43" fmla="*/ 5767200 h 6011862"/>
              <a:gd name="connsiteX44" fmla="*/ 3928543 w 5147304"/>
              <a:gd name="connsiteY44" fmla="*/ 5724531 h 6011862"/>
              <a:gd name="connsiteX45" fmla="*/ 3961617 w 5147304"/>
              <a:gd name="connsiteY45" fmla="*/ 5724531 h 6011862"/>
              <a:gd name="connsiteX46" fmla="*/ 4005919 w 5147304"/>
              <a:gd name="connsiteY46" fmla="*/ 5767200 h 6011862"/>
              <a:gd name="connsiteX47" fmla="*/ 4042055 w 5147304"/>
              <a:gd name="connsiteY47" fmla="*/ 5767200 h 6011862"/>
              <a:gd name="connsiteX48" fmla="*/ 3984686 w 5147304"/>
              <a:gd name="connsiteY48" fmla="*/ 5712894 h 6011862"/>
              <a:gd name="connsiteX49" fmla="*/ 4041035 w 5147304"/>
              <a:gd name="connsiteY49" fmla="*/ 5659200 h 6011862"/>
              <a:gd name="connsiteX50" fmla="*/ 4006940 w 5147304"/>
              <a:gd name="connsiteY50" fmla="*/ 5659200 h 6011862"/>
              <a:gd name="connsiteX51" fmla="*/ 3962637 w 5147304"/>
              <a:gd name="connsiteY51" fmla="*/ 5701257 h 6011862"/>
              <a:gd name="connsiteX52" fmla="*/ 3928543 w 5147304"/>
              <a:gd name="connsiteY52" fmla="*/ 5701257 h 6011862"/>
              <a:gd name="connsiteX53" fmla="*/ 3928543 w 5147304"/>
              <a:gd name="connsiteY53" fmla="*/ 5659200 h 6011862"/>
              <a:gd name="connsiteX54" fmla="*/ 3734218 w 5147304"/>
              <a:gd name="connsiteY54" fmla="*/ 5659200 h 6011862"/>
              <a:gd name="connsiteX55" fmla="*/ 3748918 w 5147304"/>
              <a:gd name="connsiteY55" fmla="*/ 5681657 h 6011862"/>
              <a:gd name="connsiteX56" fmla="*/ 3808737 w 5147304"/>
              <a:gd name="connsiteY56" fmla="*/ 5681657 h 6011862"/>
              <a:gd name="connsiteX57" fmla="*/ 3823028 w 5147304"/>
              <a:gd name="connsiteY57" fmla="*/ 5659200 h 6011862"/>
              <a:gd name="connsiteX58" fmla="*/ 3721969 w 5147304"/>
              <a:gd name="connsiteY58" fmla="*/ 5659200 h 6011862"/>
              <a:gd name="connsiteX59" fmla="*/ 3698286 w 5147304"/>
              <a:gd name="connsiteY59" fmla="*/ 5684107 h 6011862"/>
              <a:gd name="connsiteX60" fmla="*/ 3698286 w 5147304"/>
              <a:gd name="connsiteY60" fmla="*/ 5693090 h 6011862"/>
              <a:gd name="connsiteX61" fmla="*/ 3728910 w 5147304"/>
              <a:gd name="connsiteY61" fmla="*/ 5723306 h 6011862"/>
              <a:gd name="connsiteX62" fmla="*/ 3800162 w 5147304"/>
              <a:gd name="connsiteY62" fmla="*/ 5723306 h 6011862"/>
              <a:gd name="connsiteX63" fmla="*/ 3800162 w 5147304"/>
              <a:gd name="connsiteY63" fmla="*/ 5736576 h 6011862"/>
              <a:gd name="connsiteX64" fmla="*/ 3792404 w 5147304"/>
              <a:gd name="connsiteY64" fmla="*/ 5744334 h 6011862"/>
              <a:gd name="connsiteX65" fmla="*/ 3709515 w 5147304"/>
              <a:gd name="connsiteY65" fmla="*/ 5744334 h 6011862"/>
              <a:gd name="connsiteX66" fmla="*/ 3695224 w 5147304"/>
              <a:gd name="connsiteY66" fmla="*/ 5767200 h 6011862"/>
              <a:gd name="connsiteX67" fmla="*/ 3794854 w 5147304"/>
              <a:gd name="connsiteY67" fmla="*/ 5767200 h 6011862"/>
              <a:gd name="connsiteX68" fmla="*/ 3825477 w 5147304"/>
              <a:gd name="connsiteY68" fmla="*/ 5736985 h 6011862"/>
              <a:gd name="connsiteX69" fmla="*/ 3825477 w 5147304"/>
              <a:gd name="connsiteY69" fmla="*/ 5725143 h 6011862"/>
              <a:gd name="connsiteX70" fmla="*/ 3800366 w 5147304"/>
              <a:gd name="connsiteY70" fmla="*/ 5700440 h 6011862"/>
              <a:gd name="connsiteX71" fmla="*/ 3731360 w 5147304"/>
              <a:gd name="connsiteY71" fmla="*/ 5700440 h 6011862"/>
              <a:gd name="connsiteX72" fmla="*/ 3723602 w 5147304"/>
              <a:gd name="connsiteY72" fmla="*/ 5692682 h 6011862"/>
              <a:gd name="connsiteX73" fmla="*/ 3723602 w 5147304"/>
              <a:gd name="connsiteY73" fmla="*/ 5659200 h 6011862"/>
              <a:gd name="connsiteX74" fmla="*/ 1583531 w 5147304"/>
              <a:gd name="connsiteY74" fmla="*/ 0 h 6011862"/>
              <a:gd name="connsiteX75" fmla="*/ 5147304 w 5147304"/>
              <a:gd name="connsiteY75" fmla="*/ 0 h 6011862"/>
              <a:gd name="connsiteX76" fmla="*/ 5147304 w 5147304"/>
              <a:gd name="connsiteY76" fmla="*/ 6011862 h 6011862"/>
              <a:gd name="connsiteX77" fmla="*/ 0 w 5147304"/>
              <a:gd name="connsiteY77" fmla="*/ 6011862 h 60118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</a:cxnLst>
            <a:rect l="l" t="t" r="r" b="b"/>
            <a:pathLst>
              <a:path w="5147304" h="6011862">
                <a:moveTo>
                  <a:pt x="4361322" y="5682474"/>
                </a:moveTo>
                <a:lnTo>
                  <a:pt x="4425429" y="5682474"/>
                </a:lnTo>
                <a:cubicBezTo>
                  <a:pt x="4436045" y="5682474"/>
                  <a:pt x="4442782" y="5689007"/>
                  <a:pt x="4442782" y="5699215"/>
                </a:cubicBezTo>
                <a:lnTo>
                  <a:pt x="4442782" y="5727185"/>
                </a:lnTo>
                <a:cubicBezTo>
                  <a:pt x="4442782" y="5737393"/>
                  <a:pt x="4436045" y="5743926"/>
                  <a:pt x="4425429" y="5743926"/>
                </a:cubicBezTo>
                <a:lnTo>
                  <a:pt x="4361322" y="5743926"/>
                </a:lnTo>
                <a:close/>
                <a:moveTo>
                  <a:pt x="4146459" y="5682474"/>
                </a:moveTo>
                <a:lnTo>
                  <a:pt x="4200561" y="5682474"/>
                </a:lnTo>
                <a:cubicBezTo>
                  <a:pt x="4210360" y="5682474"/>
                  <a:pt x="4216690" y="5688599"/>
                  <a:pt x="4216690" y="5698194"/>
                </a:cubicBezTo>
                <a:lnTo>
                  <a:pt x="4216690" y="5728206"/>
                </a:lnTo>
                <a:cubicBezTo>
                  <a:pt x="4216690" y="5737801"/>
                  <a:pt x="4210361" y="5743926"/>
                  <a:pt x="4200561" y="5743926"/>
                </a:cubicBezTo>
                <a:lnTo>
                  <a:pt x="4146459" y="5743926"/>
                </a:lnTo>
                <a:cubicBezTo>
                  <a:pt x="4136659" y="5743926"/>
                  <a:pt x="4130330" y="5737801"/>
                  <a:pt x="4130330" y="5728206"/>
                </a:cubicBezTo>
                <a:lnTo>
                  <a:pt x="4130330" y="5698194"/>
                </a:lnTo>
                <a:cubicBezTo>
                  <a:pt x="4130330" y="5688599"/>
                  <a:pt x="4136659" y="5682474"/>
                  <a:pt x="4146459" y="5682474"/>
                </a:cubicBezTo>
                <a:close/>
                <a:moveTo>
                  <a:pt x="4619272" y="5679412"/>
                </a:moveTo>
                <a:lnTo>
                  <a:pt x="4645207" y="5725347"/>
                </a:lnTo>
                <a:lnTo>
                  <a:pt x="4593344" y="5725347"/>
                </a:lnTo>
                <a:close/>
                <a:moveTo>
                  <a:pt x="4601714" y="5659200"/>
                </a:moveTo>
                <a:lnTo>
                  <a:pt x="4541080" y="5767200"/>
                </a:lnTo>
                <a:lnTo>
                  <a:pt x="4569870" y="5767200"/>
                </a:lnTo>
                <a:lnTo>
                  <a:pt x="4592735" y="5726572"/>
                </a:lnTo>
                <a:lnTo>
                  <a:pt x="4606620" y="5748622"/>
                </a:lnTo>
                <a:lnTo>
                  <a:pt x="4658268" y="5748622"/>
                </a:lnTo>
                <a:lnTo>
                  <a:pt x="4668682" y="5767200"/>
                </a:lnTo>
                <a:lnTo>
                  <a:pt x="4698081" y="5767200"/>
                </a:lnTo>
                <a:lnTo>
                  <a:pt x="4637447" y="5659200"/>
                </a:lnTo>
                <a:close/>
                <a:moveTo>
                  <a:pt x="4335598" y="5659200"/>
                </a:moveTo>
                <a:lnTo>
                  <a:pt x="4335598" y="5767200"/>
                </a:lnTo>
                <a:lnTo>
                  <a:pt x="4426041" y="5767200"/>
                </a:lnTo>
                <a:cubicBezTo>
                  <a:pt x="4452990" y="5767200"/>
                  <a:pt x="4468504" y="5751684"/>
                  <a:pt x="4468504" y="5725960"/>
                </a:cubicBezTo>
                <a:lnTo>
                  <a:pt x="4468504" y="5700440"/>
                </a:lnTo>
                <a:cubicBezTo>
                  <a:pt x="4468504" y="5674716"/>
                  <a:pt x="4452990" y="5659200"/>
                  <a:pt x="4426041" y="5659200"/>
                </a:cubicBezTo>
                <a:close/>
                <a:moveTo>
                  <a:pt x="4145846" y="5659200"/>
                </a:moveTo>
                <a:cubicBezTo>
                  <a:pt x="4119713" y="5659200"/>
                  <a:pt x="4104606" y="5674308"/>
                  <a:pt x="4104606" y="5699419"/>
                </a:cubicBezTo>
                <a:lnTo>
                  <a:pt x="4104606" y="5726981"/>
                </a:lnTo>
                <a:cubicBezTo>
                  <a:pt x="4104606" y="5752092"/>
                  <a:pt x="4119713" y="5767200"/>
                  <a:pt x="4145846" y="5767200"/>
                </a:cubicBezTo>
                <a:lnTo>
                  <a:pt x="4201173" y="5767200"/>
                </a:lnTo>
                <a:cubicBezTo>
                  <a:pt x="4227305" y="5767200"/>
                  <a:pt x="4242414" y="5752092"/>
                  <a:pt x="4242414" y="5726981"/>
                </a:cubicBezTo>
                <a:lnTo>
                  <a:pt x="4242414" y="5699419"/>
                </a:lnTo>
                <a:cubicBezTo>
                  <a:pt x="4242414" y="5674308"/>
                  <a:pt x="4227306" y="5659200"/>
                  <a:pt x="4201173" y="5659200"/>
                </a:cubicBezTo>
                <a:close/>
                <a:moveTo>
                  <a:pt x="3902818" y="5659200"/>
                </a:moveTo>
                <a:lnTo>
                  <a:pt x="3902818" y="5767200"/>
                </a:lnTo>
                <a:lnTo>
                  <a:pt x="3928543" y="5767200"/>
                </a:lnTo>
                <a:lnTo>
                  <a:pt x="3928543" y="5724531"/>
                </a:lnTo>
                <a:lnTo>
                  <a:pt x="3961617" y="5724531"/>
                </a:lnTo>
                <a:lnTo>
                  <a:pt x="4005919" y="5767200"/>
                </a:lnTo>
                <a:lnTo>
                  <a:pt x="4042055" y="5767200"/>
                </a:lnTo>
                <a:lnTo>
                  <a:pt x="3984686" y="5712894"/>
                </a:lnTo>
                <a:lnTo>
                  <a:pt x="4041035" y="5659200"/>
                </a:lnTo>
                <a:lnTo>
                  <a:pt x="4006940" y="5659200"/>
                </a:lnTo>
                <a:lnTo>
                  <a:pt x="3962637" y="5701257"/>
                </a:lnTo>
                <a:lnTo>
                  <a:pt x="3928543" y="5701257"/>
                </a:lnTo>
                <a:lnTo>
                  <a:pt x="3928543" y="5659200"/>
                </a:lnTo>
                <a:close/>
                <a:moveTo>
                  <a:pt x="3734218" y="5659200"/>
                </a:moveTo>
                <a:lnTo>
                  <a:pt x="3748918" y="5681657"/>
                </a:lnTo>
                <a:lnTo>
                  <a:pt x="3808737" y="5681657"/>
                </a:lnTo>
                <a:lnTo>
                  <a:pt x="3823028" y="5659200"/>
                </a:lnTo>
                <a:close/>
                <a:moveTo>
                  <a:pt x="3721969" y="5659200"/>
                </a:moveTo>
                <a:cubicBezTo>
                  <a:pt x="3707474" y="5659200"/>
                  <a:pt x="3698286" y="5668591"/>
                  <a:pt x="3698286" y="5684107"/>
                </a:cubicBezTo>
                <a:lnTo>
                  <a:pt x="3698286" y="5693090"/>
                </a:lnTo>
                <a:cubicBezTo>
                  <a:pt x="3698286" y="5713915"/>
                  <a:pt x="3707678" y="5723306"/>
                  <a:pt x="3728910" y="5723306"/>
                </a:cubicBezTo>
                <a:lnTo>
                  <a:pt x="3800162" y="5723306"/>
                </a:lnTo>
                <a:lnTo>
                  <a:pt x="3800162" y="5736576"/>
                </a:lnTo>
                <a:cubicBezTo>
                  <a:pt x="3800162" y="5741272"/>
                  <a:pt x="3797100" y="5744334"/>
                  <a:pt x="3792404" y="5744334"/>
                </a:cubicBezTo>
                <a:lnTo>
                  <a:pt x="3709515" y="5744334"/>
                </a:lnTo>
                <a:lnTo>
                  <a:pt x="3695224" y="5767200"/>
                </a:lnTo>
                <a:lnTo>
                  <a:pt x="3794854" y="5767200"/>
                </a:lnTo>
                <a:cubicBezTo>
                  <a:pt x="3815474" y="5767200"/>
                  <a:pt x="3825477" y="5757196"/>
                  <a:pt x="3825477" y="5736985"/>
                </a:cubicBezTo>
                <a:lnTo>
                  <a:pt x="3825477" y="5725143"/>
                </a:lnTo>
                <a:cubicBezTo>
                  <a:pt x="3825477" y="5709831"/>
                  <a:pt x="3816086" y="5700440"/>
                  <a:pt x="3800366" y="5700440"/>
                </a:cubicBezTo>
                <a:lnTo>
                  <a:pt x="3731360" y="5700440"/>
                </a:lnTo>
                <a:cubicBezTo>
                  <a:pt x="3726665" y="5700440"/>
                  <a:pt x="3723602" y="5697378"/>
                  <a:pt x="3723602" y="5692682"/>
                </a:cubicBezTo>
                <a:lnTo>
                  <a:pt x="3723602" y="5659200"/>
                </a:lnTo>
                <a:close/>
                <a:moveTo>
                  <a:pt x="1583531" y="0"/>
                </a:moveTo>
                <a:lnTo>
                  <a:pt x="5147304" y="0"/>
                </a:lnTo>
                <a:lnTo>
                  <a:pt x="5147304" y="6011862"/>
                </a:lnTo>
                <a:lnTo>
                  <a:pt x="0" y="6011862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 algn="ctr">
              <a:buFontTx/>
              <a:buNone/>
              <a:defRPr>
                <a:solidFill>
                  <a:schemeClr val="accent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Obrázek</a:t>
            </a:r>
          </a:p>
        </p:txBody>
      </p:sp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264"/>
          <a:ext cx="1587" cy="12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9" imgH="398" progId="TCLayout.ActiveDocument.1">
                  <p:embed/>
                </p:oleObj>
              </mc:Choice>
              <mc:Fallback>
                <p:oleObj name="think-cell Slide" r:id="rId5" imgW="399" imgH="398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264"/>
                        <a:ext cx="1587" cy="12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 userDrawn="1">
            <p:ph type="title" hasCustomPrompt="1"/>
          </p:nvPr>
        </p:nvSpPr>
        <p:spPr>
          <a:xfrm>
            <a:off x="449263" y="1314450"/>
            <a:ext cx="4968875" cy="2520000"/>
          </a:xfrm>
        </p:spPr>
        <p:txBody>
          <a:bodyPr anchor="t" anchorCtr="0">
            <a:normAutofit/>
          </a:bodyPr>
          <a:lstStyle>
            <a:lvl1pPr>
              <a:lnSpc>
                <a:spcPts val="4000"/>
              </a:lnSpc>
              <a:defRPr sz="4000" b="0" cap="none" baseline="0">
                <a:solidFill>
                  <a:schemeClr val="accent1"/>
                </a:solidFill>
                <a:latin typeface="SKODA Next Light" panose="020B0304020603020204" pitchFamily="34" charset="0"/>
              </a:defRPr>
            </a:lvl1pPr>
          </a:lstStyle>
          <a:p>
            <a:r>
              <a:rPr lang="cs-CZ" noProof="0"/>
              <a:t>Citát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A95BF692-E6D8-7522-3939-8E0A92A62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46000" y="5598000"/>
            <a:ext cx="7289813" cy="18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cs-CZ" noProof="0"/>
              <a:t>| 08.11. 2023 | Odborná praxe | GQD-1 | Ondřej Hlaváček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63C25813-455F-091C-F4E2-B3972C902DC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4D773F9-8A50-B2D5-3B6A-3C8C10261F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4014000"/>
            <a:ext cx="4968000" cy="1332000"/>
          </a:xfrm>
        </p:spPr>
        <p:txBody>
          <a:bodyPr vert="horz" lIns="0" tIns="0" rIns="0" bIns="0" rtlCol="0" anchor="t" anchorCtr="0">
            <a:normAutofit/>
          </a:bodyPr>
          <a:lstStyle>
            <a:lvl1pPr marL="0" indent="0">
              <a:buNone/>
              <a:defRPr lang="en-US" b="0" cap="none" baseline="0" dirty="0" smtClean="0">
                <a:solidFill>
                  <a:schemeClr val="accent1"/>
                </a:solidFill>
              </a:defRPr>
            </a:lvl1pPr>
            <a:lvl2pPr>
              <a:defRPr lang="en-US" sz="2100" dirty="0" smtClean="0">
                <a:latin typeface="+mn-lt"/>
                <a:ea typeface="+mn-ea"/>
                <a:cs typeface="+mn-cs"/>
              </a:defRPr>
            </a:lvl2pPr>
            <a:lvl3pPr>
              <a:defRPr lang="en-US" sz="2100" dirty="0" smtClean="0">
                <a:latin typeface="+mn-lt"/>
                <a:ea typeface="+mn-ea"/>
                <a:cs typeface="+mn-cs"/>
              </a:defRPr>
            </a:lvl3pPr>
            <a:lvl4pPr>
              <a:defRPr lang="en-US" sz="2100" dirty="0" smtClean="0">
                <a:latin typeface="+mn-lt"/>
                <a:ea typeface="+mn-ea"/>
                <a:cs typeface="+mn-cs"/>
              </a:defRPr>
            </a:lvl4pPr>
            <a:lvl5pPr marL="1905487" indent="0">
              <a:buNone/>
              <a:defRPr lang="en-GB" sz="2100" dirty="0">
                <a:latin typeface="+mn-lt"/>
                <a:ea typeface="+mn-ea"/>
                <a:cs typeface="+mn-cs"/>
              </a:defRPr>
            </a:lvl5pPr>
          </a:lstStyle>
          <a:p>
            <a:pPr marL="105750" lvl="0" indent="-285750">
              <a:lnSpc>
                <a:spcPts val="1600"/>
              </a:lnSpc>
              <a:spcBef>
                <a:spcPct val="0"/>
              </a:spcBef>
            </a:pPr>
            <a:r>
              <a:rPr lang="cs-CZ" noProof="0"/>
              <a:t>Škoda Auto</a:t>
            </a:r>
          </a:p>
        </p:txBody>
      </p:sp>
    </p:spTree>
    <p:extLst>
      <p:ext uri="{BB962C8B-B14F-4D97-AF65-F5344CB8AC3E}">
        <p14:creationId xmlns:p14="http://schemas.microsoft.com/office/powerpoint/2010/main" val="3410218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Electr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AF0FA753-08B2-8DDC-C26C-07D66B05879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39693" y="5659592"/>
            <a:ext cx="1002857" cy="108000"/>
          </a:xfrm>
          <a:prstGeom prst="rect">
            <a:avLst/>
          </a:prstGeom>
        </p:spPr>
      </p:pic>
      <p:sp>
        <p:nvSpPr>
          <p:cNvPr id="6" name="Zástupný symbol pro číslo snímku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7" name="Zástupný symbol pro zápatí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| 08.11. 2023 | Odborná praxe | GQD-1 | Ondřej Hlaváček</a:t>
            </a:r>
          </a:p>
        </p:txBody>
      </p:sp>
      <p:sp>
        <p:nvSpPr>
          <p:cNvPr id="10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648000"/>
            <a:ext cx="9793288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cs-CZ" noProof="0"/>
              <a:t>Podnadpis</a:t>
            </a:r>
          </a:p>
        </p:txBody>
      </p:sp>
      <p:sp>
        <p:nvSpPr>
          <p:cNvPr id="3" name="Nadpis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cs-CZ" noProof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3062554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pro číslo snímku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7" name="Zástupný symbol pro zápatí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| 08.11. 2023 | Odborná praxe | GQD-1 | Ondřej Hlaváček</a:t>
            </a:r>
          </a:p>
        </p:txBody>
      </p:sp>
      <p:sp>
        <p:nvSpPr>
          <p:cNvPr id="10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648000"/>
            <a:ext cx="9793288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cs-CZ" noProof="0"/>
              <a:t>Podnadpis</a:t>
            </a:r>
          </a:p>
        </p:txBody>
      </p:sp>
      <p:sp>
        <p:nvSpPr>
          <p:cNvPr id="3" name="Nadpis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cs-CZ" noProof="0"/>
              <a:t>Nadpis (shrnutí stránky)</a:t>
            </a:r>
          </a:p>
        </p:txBody>
      </p:sp>
    </p:spTree>
    <p:extLst>
      <p:ext uri="{BB962C8B-B14F-4D97-AF65-F5344CB8AC3E}">
        <p14:creationId xmlns:p14="http://schemas.microsoft.com/office/powerpoint/2010/main" val="3120851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pro číslo snímku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7" name="Zástupný symbol pro zápatí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| 08.11. 2023 | Odborná praxe | GQD-1 | Ondřej Hlaváček</a:t>
            </a:r>
          </a:p>
        </p:txBody>
      </p:sp>
      <p:sp>
        <p:nvSpPr>
          <p:cNvPr id="10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648000"/>
            <a:ext cx="9793288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cs-CZ" noProof="0"/>
              <a:t>Podnadpis</a:t>
            </a:r>
          </a:p>
        </p:txBody>
      </p:sp>
      <p:sp>
        <p:nvSpPr>
          <p:cNvPr id="3" name="Nadpis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cs-CZ" noProof="0"/>
              <a:t>Nadpis (shrnutí stránky)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AD94FAF8-685A-D0A8-0EA2-2B3C8F7BC9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39693" y="5659592"/>
            <a:ext cx="1002857" cy="10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1569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BFF7A7E-2F88-BCC5-C055-008483D90682}"/>
              </a:ext>
            </a:extLst>
          </p:cNvPr>
          <p:cNvSpPr/>
          <p:nvPr userDrawn="1"/>
        </p:nvSpPr>
        <p:spPr>
          <a:xfrm>
            <a:off x="0" y="0"/>
            <a:ext cx="5220000" cy="1404000"/>
          </a:xfrm>
          <a:custGeom>
            <a:avLst/>
            <a:gdLst>
              <a:gd name="connsiteX0" fmla="*/ 0 w 5220000"/>
              <a:gd name="connsiteY0" fmla="*/ 0 h 1404000"/>
              <a:gd name="connsiteX1" fmla="*/ 5220000 w 5220000"/>
              <a:gd name="connsiteY1" fmla="*/ 0 h 1404000"/>
              <a:gd name="connsiteX2" fmla="*/ 5220000 w 5220000"/>
              <a:gd name="connsiteY2" fmla="*/ 1404000 h 1404000"/>
              <a:gd name="connsiteX3" fmla="*/ 0 w 5220000"/>
              <a:gd name="connsiteY3" fmla="*/ 1404000 h 1404000"/>
              <a:gd name="connsiteX4" fmla="*/ 0 w 5220000"/>
              <a:gd name="connsiteY4" fmla="*/ 0 h 1404000"/>
              <a:gd name="connsiteX0" fmla="*/ 0 w 5220000"/>
              <a:gd name="connsiteY0" fmla="*/ 0 h 1404000"/>
              <a:gd name="connsiteX1" fmla="*/ 5220000 w 5220000"/>
              <a:gd name="connsiteY1" fmla="*/ 0 h 1404000"/>
              <a:gd name="connsiteX2" fmla="*/ 5220000 w 5220000"/>
              <a:gd name="connsiteY2" fmla="*/ 1404000 h 1404000"/>
              <a:gd name="connsiteX3" fmla="*/ 0 w 5220000"/>
              <a:gd name="connsiteY3" fmla="*/ 1404000 h 1404000"/>
              <a:gd name="connsiteX4" fmla="*/ 0 w 5220000"/>
              <a:gd name="connsiteY4" fmla="*/ 0 h 1404000"/>
              <a:gd name="connsiteX0" fmla="*/ 0 w 5220000"/>
              <a:gd name="connsiteY0" fmla="*/ 0 h 1404000"/>
              <a:gd name="connsiteX1" fmla="*/ 5220000 w 5220000"/>
              <a:gd name="connsiteY1" fmla="*/ 0 h 1404000"/>
              <a:gd name="connsiteX2" fmla="*/ 0 w 5220000"/>
              <a:gd name="connsiteY2" fmla="*/ 1404000 h 1404000"/>
              <a:gd name="connsiteX3" fmla="*/ 0 w 5220000"/>
              <a:gd name="connsiteY3" fmla="*/ 0 h 140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20000" h="1404000">
                <a:moveTo>
                  <a:pt x="0" y="0"/>
                </a:moveTo>
                <a:lnTo>
                  <a:pt x="5220000" y="0"/>
                </a:lnTo>
                <a:lnTo>
                  <a:pt x="0" y="1404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CBDC93D-8677-8F98-0413-5586CAD9ECEE}"/>
              </a:ext>
            </a:extLst>
          </p:cNvPr>
          <p:cNvSpPr/>
          <p:nvPr userDrawn="1"/>
        </p:nvSpPr>
        <p:spPr>
          <a:xfrm>
            <a:off x="8136000" y="0"/>
            <a:ext cx="2556000" cy="6011863"/>
          </a:xfrm>
          <a:custGeom>
            <a:avLst/>
            <a:gdLst>
              <a:gd name="connsiteX0" fmla="*/ 0 w 2556000"/>
              <a:gd name="connsiteY0" fmla="*/ 0 h 6011863"/>
              <a:gd name="connsiteX1" fmla="*/ 2556000 w 2556000"/>
              <a:gd name="connsiteY1" fmla="*/ 0 h 6011863"/>
              <a:gd name="connsiteX2" fmla="*/ 2556000 w 2556000"/>
              <a:gd name="connsiteY2" fmla="*/ 6011863 h 6011863"/>
              <a:gd name="connsiteX3" fmla="*/ 0 w 2556000"/>
              <a:gd name="connsiteY3" fmla="*/ 6011863 h 6011863"/>
              <a:gd name="connsiteX4" fmla="*/ 0 w 2556000"/>
              <a:gd name="connsiteY4" fmla="*/ 0 h 6011863"/>
              <a:gd name="connsiteX0" fmla="*/ 1600200 w 2556000"/>
              <a:gd name="connsiteY0" fmla="*/ 0 h 6011863"/>
              <a:gd name="connsiteX1" fmla="*/ 2556000 w 2556000"/>
              <a:gd name="connsiteY1" fmla="*/ 0 h 6011863"/>
              <a:gd name="connsiteX2" fmla="*/ 2556000 w 2556000"/>
              <a:gd name="connsiteY2" fmla="*/ 6011863 h 6011863"/>
              <a:gd name="connsiteX3" fmla="*/ 0 w 2556000"/>
              <a:gd name="connsiteY3" fmla="*/ 6011863 h 6011863"/>
              <a:gd name="connsiteX4" fmla="*/ 1600200 w 2556000"/>
              <a:gd name="connsiteY4" fmla="*/ 0 h 6011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6000" h="6011863">
                <a:moveTo>
                  <a:pt x="1600200" y="0"/>
                </a:moveTo>
                <a:lnTo>
                  <a:pt x="2556000" y="0"/>
                </a:lnTo>
                <a:lnTo>
                  <a:pt x="2556000" y="6011863"/>
                </a:lnTo>
                <a:lnTo>
                  <a:pt x="0" y="6011863"/>
                </a:lnTo>
                <a:lnTo>
                  <a:pt x="1600200" y="0"/>
                </a:lnTo>
                <a:close/>
              </a:path>
            </a:pathLst>
          </a:cu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621EEB25-02FD-89D3-1BD1-8F48F076C97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571122" y="5556311"/>
            <a:ext cx="1671428" cy="180000"/>
          </a:xfrm>
          <a:prstGeom prst="rect">
            <a:avLst/>
          </a:prstGeom>
        </p:spPr>
      </p:pic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264"/>
          <a:ext cx="1587" cy="12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9" imgH="398" progId="TCLayout.ActiveDocument.1">
                  <p:embed/>
                </p:oleObj>
              </mc:Choice>
              <mc:Fallback>
                <p:oleObj name="think-cell Slide" r:id="rId5" imgW="399" imgH="398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264"/>
                        <a:ext cx="1587" cy="12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 userDrawn="1">
            <p:ph type="title" hasCustomPrompt="1"/>
          </p:nvPr>
        </p:nvSpPr>
        <p:spPr>
          <a:xfrm>
            <a:off x="449263" y="1314450"/>
            <a:ext cx="7686550" cy="4032250"/>
          </a:xfrm>
        </p:spPr>
        <p:txBody>
          <a:bodyPr anchor="b" anchorCtr="0">
            <a:noAutofit/>
          </a:bodyPr>
          <a:lstStyle>
            <a:lvl1pPr>
              <a:lnSpc>
                <a:spcPts val="6000"/>
              </a:lnSpc>
              <a:defRPr sz="6000" b="0" cap="none" baseline="0">
                <a:solidFill>
                  <a:schemeClr val="accent1"/>
                </a:solidFill>
                <a:latin typeface="SKODA Next Light" panose="020B0304020603020204" pitchFamily="34" charset="0"/>
              </a:defRPr>
            </a:lvl1pPr>
          </a:lstStyle>
          <a:p>
            <a:r>
              <a:rPr lang="en-GB" noProof="0"/>
              <a:t>Presentation</a:t>
            </a:r>
            <a:br>
              <a:rPr lang="en-GB" noProof="0"/>
            </a:br>
            <a:r>
              <a:rPr lang="en-GB" noProof="0"/>
              <a:t>Title</a:t>
            </a:r>
          </a:p>
        </p:txBody>
      </p:sp>
      <p:sp>
        <p:nvSpPr>
          <p:cNvPr id="16" name="Zástupný symbol pro číslo snímku 5"/>
          <p:cNvSpPr>
            <a:spLocks noGrp="1"/>
          </p:cNvSpPr>
          <p:nvPr userDrawn="1">
            <p:ph type="sldNum" sz="quarter" idx="10"/>
          </p:nvPr>
        </p:nvSpPr>
        <p:spPr>
          <a:xfrm>
            <a:off x="449263" y="5776670"/>
            <a:ext cx="269960" cy="180000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2" name="Zástupný symbol pro zápatí 6"/>
          <p:cNvSpPr>
            <a:spLocks noGrp="1"/>
          </p:cNvSpPr>
          <p:nvPr userDrawn="1">
            <p:ph type="ftr" sz="quarter" idx="11"/>
          </p:nvPr>
        </p:nvSpPr>
        <p:spPr>
          <a:xfrm>
            <a:off x="449262" y="5598000"/>
            <a:ext cx="7686737" cy="180000"/>
          </a:xfrm>
          <a:noFill/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1200" b="0" smtClean="0">
                <a:solidFill>
                  <a:schemeClr val="accent1"/>
                </a:solidFill>
                <a:effectLst/>
                <a:latin typeface="SKODA Next Light" panose="020B0304020603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GB" noProof="0"/>
              <a:t>SXX | Date | Presentation Title | Department | Name</a:t>
            </a:r>
          </a:p>
        </p:txBody>
      </p:sp>
    </p:spTree>
    <p:extLst>
      <p:ext uri="{BB962C8B-B14F-4D97-AF65-F5344CB8AC3E}">
        <p14:creationId xmlns:p14="http://schemas.microsoft.com/office/powerpoint/2010/main" val="2131809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4877CB86-63EE-5524-5FB8-600E3F90AAAF}"/>
              </a:ext>
            </a:extLst>
          </p:cNvPr>
          <p:cNvSpPr/>
          <p:nvPr userDrawn="1"/>
        </p:nvSpPr>
        <p:spPr>
          <a:xfrm>
            <a:off x="0" y="0"/>
            <a:ext cx="6228000" cy="6011863"/>
          </a:xfrm>
          <a:custGeom>
            <a:avLst/>
            <a:gdLst>
              <a:gd name="connsiteX0" fmla="*/ 0 w 6228000"/>
              <a:gd name="connsiteY0" fmla="*/ 0 h 6011863"/>
              <a:gd name="connsiteX1" fmla="*/ 6228000 w 6228000"/>
              <a:gd name="connsiteY1" fmla="*/ 0 h 6011863"/>
              <a:gd name="connsiteX2" fmla="*/ 6228000 w 6228000"/>
              <a:gd name="connsiteY2" fmla="*/ 6011863 h 6011863"/>
              <a:gd name="connsiteX3" fmla="*/ 0 w 6228000"/>
              <a:gd name="connsiteY3" fmla="*/ 6011863 h 6011863"/>
              <a:gd name="connsiteX4" fmla="*/ 0 w 6228000"/>
              <a:gd name="connsiteY4" fmla="*/ 0 h 6011863"/>
              <a:gd name="connsiteX0" fmla="*/ 0 w 6228000"/>
              <a:gd name="connsiteY0" fmla="*/ 0 h 6011863"/>
              <a:gd name="connsiteX1" fmla="*/ 6228000 w 6228000"/>
              <a:gd name="connsiteY1" fmla="*/ 0 h 6011863"/>
              <a:gd name="connsiteX2" fmla="*/ 4608750 w 6228000"/>
              <a:gd name="connsiteY2" fmla="*/ 6011863 h 6011863"/>
              <a:gd name="connsiteX3" fmla="*/ 0 w 6228000"/>
              <a:gd name="connsiteY3" fmla="*/ 6011863 h 6011863"/>
              <a:gd name="connsiteX4" fmla="*/ 0 w 6228000"/>
              <a:gd name="connsiteY4" fmla="*/ 0 h 6011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28000" h="6011863">
                <a:moveTo>
                  <a:pt x="0" y="0"/>
                </a:moveTo>
                <a:lnTo>
                  <a:pt x="6228000" y="0"/>
                </a:lnTo>
                <a:lnTo>
                  <a:pt x="4608750" y="6011863"/>
                </a:lnTo>
                <a:lnTo>
                  <a:pt x="0" y="6011863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A644526-9241-8C2F-636B-80CF0817FA3C}"/>
              </a:ext>
            </a:extLst>
          </p:cNvPr>
          <p:cNvSpPr/>
          <p:nvPr userDrawn="1"/>
        </p:nvSpPr>
        <p:spPr>
          <a:xfrm>
            <a:off x="6804025" y="4248000"/>
            <a:ext cx="3888000" cy="1764000"/>
          </a:xfrm>
          <a:custGeom>
            <a:avLst/>
            <a:gdLst>
              <a:gd name="connsiteX0" fmla="*/ 0 w 3888000"/>
              <a:gd name="connsiteY0" fmla="*/ 0 h 1764000"/>
              <a:gd name="connsiteX1" fmla="*/ 3888000 w 3888000"/>
              <a:gd name="connsiteY1" fmla="*/ 0 h 1764000"/>
              <a:gd name="connsiteX2" fmla="*/ 3888000 w 3888000"/>
              <a:gd name="connsiteY2" fmla="*/ 1764000 h 1764000"/>
              <a:gd name="connsiteX3" fmla="*/ 0 w 3888000"/>
              <a:gd name="connsiteY3" fmla="*/ 1764000 h 1764000"/>
              <a:gd name="connsiteX4" fmla="*/ 0 w 3888000"/>
              <a:gd name="connsiteY4" fmla="*/ 0 h 1764000"/>
              <a:gd name="connsiteX0" fmla="*/ 0 w 3888000"/>
              <a:gd name="connsiteY0" fmla="*/ 0 h 1764000"/>
              <a:gd name="connsiteX1" fmla="*/ 3888000 w 3888000"/>
              <a:gd name="connsiteY1" fmla="*/ 0 h 1764000"/>
              <a:gd name="connsiteX2" fmla="*/ 3888000 w 3888000"/>
              <a:gd name="connsiteY2" fmla="*/ 1764000 h 1764000"/>
              <a:gd name="connsiteX3" fmla="*/ 0 w 3888000"/>
              <a:gd name="connsiteY3" fmla="*/ 1764000 h 1764000"/>
              <a:gd name="connsiteX4" fmla="*/ 0 w 3888000"/>
              <a:gd name="connsiteY4" fmla="*/ 0 h 1764000"/>
              <a:gd name="connsiteX0" fmla="*/ 0 w 3888000"/>
              <a:gd name="connsiteY0" fmla="*/ 0 h 1764000"/>
              <a:gd name="connsiteX1" fmla="*/ 3888000 w 3888000"/>
              <a:gd name="connsiteY1" fmla="*/ 0 h 1764000"/>
              <a:gd name="connsiteX2" fmla="*/ 3888000 w 3888000"/>
              <a:gd name="connsiteY2" fmla="*/ 1764000 h 1764000"/>
              <a:gd name="connsiteX3" fmla="*/ 0 w 3888000"/>
              <a:gd name="connsiteY3" fmla="*/ 1764000 h 1764000"/>
              <a:gd name="connsiteX4" fmla="*/ 0 w 3888000"/>
              <a:gd name="connsiteY4" fmla="*/ 0 h 1764000"/>
              <a:gd name="connsiteX0" fmla="*/ 0 w 3888000"/>
              <a:gd name="connsiteY0" fmla="*/ 0 h 1764000"/>
              <a:gd name="connsiteX1" fmla="*/ 3888000 w 3888000"/>
              <a:gd name="connsiteY1" fmla="*/ 0 h 1764000"/>
              <a:gd name="connsiteX2" fmla="*/ 3888000 w 3888000"/>
              <a:gd name="connsiteY2" fmla="*/ 1764000 h 1764000"/>
              <a:gd name="connsiteX3" fmla="*/ 0 w 3888000"/>
              <a:gd name="connsiteY3" fmla="*/ 1764000 h 1764000"/>
              <a:gd name="connsiteX4" fmla="*/ 0 w 3888000"/>
              <a:gd name="connsiteY4" fmla="*/ 0 h 1764000"/>
              <a:gd name="connsiteX0" fmla="*/ 0 w 3888000"/>
              <a:gd name="connsiteY0" fmla="*/ 1764000 h 1764000"/>
              <a:gd name="connsiteX1" fmla="*/ 3888000 w 3888000"/>
              <a:gd name="connsiteY1" fmla="*/ 0 h 1764000"/>
              <a:gd name="connsiteX2" fmla="*/ 3888000 w 3888000"/>
              <a:gd name="connsiteY2" fmla="*/ 1764000 h 1764000"/>
              <a:gd name="connsiteX3" fmla="*/ 0 w 3888000"/>
              <a:gd name="connsiteY3" fmla="*/ 1764000 h 176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88000" h="1764000">
                <a:moveTo>
                  <a:pt x="0" y="1764000"/>
                </a:moveTo>
                <a:lnTo>
                  <a:pt x="3888000" y="0"/>
                </a:lnTo>
                <a:lnTo>
                  <a:pt x="3888000" y="1764000"/>
                </a:lnTo>
                <a:lnTo>
                  <a:pt x="0" y="1764000"/>
                </a:lnTo>
                <a:close/>
              </a:path>
            </a:pathLst>
          </a:cu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E67FD83F-E254-90F2-3FE6-D2286BD6FAA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571122" y="5556311"/>
            <a:ext cx="1671428" cy="180000"/>
          </a:xfrm>
          <a:prstGeom prst="rect">
            <a:avLst/>
          </a:prstGeom>
        </p:spPr>
      </p:pic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264"/>
          <a:ext cx="1587" cy="12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99" imgH="398" progId="TCLayout.ActiveDocument.1">
                  <p:embed/>
                </p:oleObj>
              </mc:Choice>
              <mc:Fallback>
                <p:oleObj name="think-cell Slide" r:id="rId6" imgW="399" imgH="398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0" y="1264"/>
                        <a:ext cx="1587" cy="12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 userDrawn="1">
            <p:ph type="title" hasCustomPrompt="1"/>
          </p:nvPr>
        </p:nvSpPr>
        <p:spPr>
          <a:xfrm>
            <a:off x="449263" y="396000"/>
            <a:ext cx="4968876" cy="1403760"/>
          </a:xfrm>
        </p:spPr>
        <p:txBody>
          <a:bodyPr anchor="t" anchorCtr="0">
            <a:noAutofit/>
          </a:bodyPr>
          <a:lstStyle>
            <a:lvl1pPr>
              <a:lnSpc>
                <a:spcPts val="6000"/>
              </a:lnSpc>
              <a:defRPr sz="6000" b="0" cap="none" baseline="0">
                <a:solidFill>
                  <a:schemeClr val="accent2"/>
                </a:solidFill>
                <a:latin typeface="SKODA Next Light" panose="020B0304020603020204" pitchFamily="34" charset="0"/>
              </a:defRPr>
            </a:lvl1pPr>
          </a:lstStyle>
          <a:p>
            <a:r>
              <a:rPr lang="en-GB" noProof="0"/>
              <a:t>Presentation Title</a:t>
            </a:r>
          </a:p>
        </p:txBody>
      </p:sp>
      <p:sp>
        <p:nvSpPr>
          <p:cNvPr id="19" name="Zástupný symbol pro text 18"/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449263" y="2051999"/>
            <a:ext cx="4824412" cy="1350013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Font typeface="Arial" panose="020B0604020202020204" pitchFamily="34" charset="0"/>
              <a:buNone/>
              <a:defRPr sz="2200">
                <a:solidFill>
                  <a:schemeClr val="accent2"/>
                </a:solidFill>
                <a:latin typeface="SKODA Next Light" panose="020B0304020603020204" pitchFamily="34" charset="0"/>
              </a:defRPr>
            </a:lvl1pPr>
          </a:lstStyle>
          <a:p>
            <a:pPr lvl="0"/>
            <a:r>
              <a:rPr lang="en-GB" noProof="0"/>
              <a:t>Additional Information</a:t>
            </a:r>
          </a:p>
        </p:txBody>
      </p:sp>
      <p:sp>
        <p:nvSpPr>
          <p:cNvPr id="16" name="Zástupný symbol pro číslo snímku 5"/>
          <p:cNvSpPr>
            <a:spLocks noGrp="1"/>
          </p:cNvSpPr>
          <p:nvPr userDrawn="1">
            <p:ph type="sldNum" sz="quarter" idx="10"/>
          </p:nvPr>
        </p:nvSpPr>
        <p:spPr>
          <a:xfrm>
            <a:off x="449263" y="5778000"/>
            <a:ext cx="269960" cy="180000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2" name="Zástupný symbol pro zápatí 6"/>
          <p:cNvSpPr>
            <a:spLocks noGrp="1"/>
          </p:cNvSpPr>
          <p:nvPr userDrawn="1">
            <p:ph type="ftr" sz="quarter" idx="11"/>
          </p:nvPr>
        </p:nvSpPr>
        <p:spPr>
          <a:xfrm>
            <a:off x="449262" y="5598000"/>
            <a:ext cx="7686737" cy="180000"/>
          </a:xfrm>
          <a:noFill/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GB" sz="1200" b="0" smtClean="0">
                <a:solidFill>
                  <a:schemeClr val="accent2"/>
                </a:solidFill>
                <a:effectLst/>
                <a:latin typeface="SKODA Next Light" panose="020B0304020603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GB" noProof="0"/>
              <a:t>SXX | Date | Presentation Title | Department | Name</a:t>
            </a:r>
          </a:p>
        </p:txBody>
      </p:sp>
    </p:spTree>
    <p:extLst>
      <p:ext uri="{BB962C8B-B14F-4D97-AF65-F5344CB8AC3E}">
        <p14:creationId xmlns:p14="http://schemas.microsoft.com/office/powerpoint/2010/main" val="2227909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387D75E-1DB6-CCAA-28E8-1DCBFB939DCB}"/>
              </a:ext>
            </a:extLst>
          </p:cNvPr>
          <p:cNvSpPr/>
          <p:nvPr userDrawn="1"/>
        </p:nvSpPr>
        <p:spPr>
          <a:xfrm>
            <a:off x="0" y="0"/>
            <a:ext cx="5796000" cy="1548000"/>
          </a:xfrm>
          <a:custGeom>
            <a:avLst/>
            <a:gdLst>
              <a:gd name="connsiteX0" fmla="*/ 0 w 5796000"/>
              <a:gd name="connsiteY0" fmla="*/ 0 h 1548000"/>
              <a:gd name="connsiteX1" fmla="*/ 5796000 w 5796000"/>
              <a:gd name="connsiteY1" fmla="*/ 0 h 1548000"/>
              <a:gd name="connsiteX2" fmla="*/ 5796000 w 5796000"/>
              <a:gd name="connsiteY2" fmla="*/ 1548000 h 1548000"/>
              <a:gd name="connsiteX3" fmla="*/ 0 w 5796000"/>
              <a:gd name="connsiteY3" fmla="*/ 1548000 h 1548000"/>
              <a:gd name="connsiteX4" fmla="*/ 0 w 5796000"/>
              <a:gd name="connsiteY4" fmla="*/ 0 h 1548000"/>
              <a:gd name="connsiteX0" fmla="*/ 0 w 5796000"/>
              <a:gd name="connsiteY0" fmla="*/ 0 h 1548000"/>
              <a:gd name="connsiteX1" fmla="*/ 5796000 w 5796000"/>
              <a:gd name="connsiteY1" fmla="*/ 0 h 1548000"/>
              <a:gd name="connsiteX2" fmla="*/ 5796000 w 5796000"/>
              <a:gd name="connsiteY2" fmla="*/ 1548000 h 1548000"/>
              <a:gd name="connsiteX3" fmla="*/ 0 w 5796000"/>
              <a:gd name="connsiteY3" fmla="*/ 1548000 h 1548000"/>
              <a:gd name="connsiteX4" fmla="*/ 0 w 5796000"/>
              <a:gd name="connsiteY4" fmla="*/ 0 h 1548000"/>
              <a:gd name="connsiteX0" fmla="*/ 0 w 5796000"/>
              <a:gd name="connsiteY0" fmla="*/ 0 h 1548000"/>
              <a:gd name="connsiteX1" fmla="*/ 5796000 w 5796000"/>
              <a:gd name="connsiteY1" fmla="*/ 0 h 1548000"/>
              <a:gd name="connsiteX2" fmla="*/ 5796000 w 5796000"/>
              <a:gd name="connsiteY2" fmla="*/ 1548000 h 1548000"/>
              <a:gd name="connsiteX3" fmla="*/ 0 w 5796000"/>
              <a:gd name="connsiteY3" fmla="*/ 1548000 h 1548000"/>
              <a:gd name="connsiteX4" fmla="*/ 0 w 5796000"/>
              <a:gd name="connsiteY4" fmla="*/ 0 h 1548000"/>
              <a:gd name="connsiteX0" fmla="*/ 0 w 5796000"/>
              <a:gd name="connsiteY0" fmla="*/ 0 h 1548000"/>
              <a:gd name="connsiteX1" fmla="*/ 5796000 w 5796000"/>
              <a:gd name="connsiteY1" fmla="*/ 0 h 1548000"/>
              <a:gd name="connsiteX2" fmla="*/ 5796000 w 5796000"/>
              <a:gd name="connsiteY2" fmla="*/ 1548000 h 1548000"/>
              <a:gd name="connsiteX3" fmla="*/ 0 w 5796000"/>
              <a:gd name="connsiteY3" fmla="*/ 1548000 h 1548000"/>
              <a:gd name="connsiteX4" fmla="*/ 0 w 5796000"/>
              <a:gd name="connsiteY4" fmla="*/ 0 h 1548000"/>
              <a:gd name="connsiteX0" fmla="*/ 0 w 5796000"/>
              <a:gd name="connsiteY0" fmla="*/ 0 h 1548000"/>
              <a:gd name="connsiteX1" fmla="*/ 5796000 w 5796000"/>
              <a:gd name="connsiteY1" fmla="*/ 0 h 1548000"/>
              <a:gd name="connsiteX2" fmla="*/ 0 w 5796000"/>
              <a:gd name="connsiteY2" fmla="*/ 1548000 h 1548000"/>
              <a:gd name="connsiteX3" fmla="*/ 0 w 5796000"/>
              <a:gd name="connsiteY3" fmla="*/ 0 h 154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96000" h="1548000">
                <a:moveTo>
                  <a:pt x="0" y="0"/>
                </a:moveTo>
                <a:lnTo>
                  <a:pt x="5796000" y="0"/>
                </a:lnTo>
                <a:lnTo>
                  <a:pt x="0" y="1548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5283C61-2372-54D3-1343-FF994CE15C41}"/>
              </a:ext>
            </a:extLst>
          </p:cNvPr>
          <p:cNvSpPr/>
          <p:nvPr userDrawn="1"/>
        </p:nvSpPr>
        <p:spPr>
          <a:xfrm>
            <a:off x="8136000" y="0"/>
            <a:ext cx="2556000" cy="6011863"/>
          </a:xfrm>
          <a:custGeom>
            <a:avLst/>
            <a:gdLst>
              <a:gd name="connsiteX0" fmla="*/ 0 w 2556000"/>
              <a:gd name="connsiteY0" fmla="*/ 0 h 6011863"/>
              <a:gd name="connsiteX1" fmla="*/ 2556000 w 2556000"/>
              <a:gd name="connsiteY1" fmla="*/ 0 h 6011863"/>
              <a:gd name="connsiteX2" fmla="*/ 2556000 w 2556000"/>
              <a:gd name="connsiteY2" fmla="*/ 6011863 h 6011863"/>
              <a:gd name="connsiteX3" fmla="*/ 0 w 2556000"/>
              <a:gd name="connsiteY3" fmla="*/ 6011863 h 6011863"/>
              <a:gd name="connsiteX4" fmla="*/ 0 w 2556000"/>
              <a:gd name="connsiteY4" fmla="*/ 0 h 6011863"/>
              <a:gd name="connsiteX0" fmla="*/ 1607344 w 2556000"/>
              <a:gd name="connsiteY0" fmla="*/ 0 h 6011863"/>
              <a:gd name="connsiteX1" fmla="*/ 2556000 w 2556000"/>
              <a:gd name="connsiteY1" fmla="*/ 0 h 6011863"/>
              <a:gd name="connsiteX2" fmla="*/ 2556000 w 2556000"/>
              <a:gd name="connsiteY2" fmla="*/ 6011863 h 6011863"/>
              <a:gd name="connsiteX3" fmla="*/ 0 w 2556000"/>
              <a:gd name="connsiteY3" fmla="*/ 6011863 h 6011863"/>
              <a:gd name="connsiteX4" fmla="*/ 1607344 w 2556000"/>
              <a:gd name="connsiteY4" fmla="*/ 0 h 6011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6000" h="6011863">
                <a:moveTo>
                  <a:pt x="1607344" y="0"/>
                </a:moveTo>
                <a:lnTo>
                  <a:pt x="2556000" y="0"/>
                </a:lnTo>
                <a:lnTo>
                  <a:pt x="2556000" y="6011863"/>
                </a:lnTo>
                <a:lnTo>
                  <a:pt x="0" y="6011863"/>
                </a:lnTo>
                <a:lnTo>
                  <a:pt x="1607344" y="0"/>
                </a:lnTo>
                <a:close/>
              </a:path>
            </a:pathLst>
          </a:cu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E5F3257C-BE2D-4876-B4E7-8461AA05D02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571122" y="5556311"/>
            <a:ext cx="1671428" cy="180000"/>
          </a:xfrm>
          <a:prstGeom prst="rect">
            <a:avLst/>
          </a:prstGeom>
        </p:spPr>
      </p:pic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264"/>
          <a:ext cx="1587" cy="12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99" imgH="398" progId="TCLayout.ActiveDocument.1">
                  <p:embed/>
                </p:oleObj>
              </mc:Choice>
              <mc:Fallback>
                <p:oleObj name="think-cell Slide" r:id="rId6" imgW="399" imgH="398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0" y="1264"/>
                        <a:ext cx="1587" cy="12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 userDrawn="1">
            <p:ph type="title" hasCustomPrompt="1"/>
          </p:nvPr>
        </p:nvSpPr>
        <p:spPr>
          <a:xfrm>
            <a:off x="449262" y="1314450"/>
            <a:ext cx="7686737" cy="4032000"/>
          </a:xfrm>
        </p:spPr>
        <p:txBody>
          <a:bodyPr anchor="b" anchorCtr="0">
            <a:noAutofit/>
          </a:bodyPr>
          <a:lstStyle>
            <a:lvl1pPr>
              <a:lnSpc>
                <a:spcPts val="6000"/>
              </a:lnSpc>
              <a:defRPr sz="6000" b="0" cap="none" baseline="0">
                <a:solidFill>
                  <a:schemeClr val="accent2"/>
                </a:solidFill>
                <a:latin typeface="SKODA Next Light" panose="020B0304020603020204" pitchFamily="34" charset="0"/>
              </a:defRPr>
            </a:lvl1pPr>
          </a:lstStyle>
          <a:p>
            <a:r>
              <a:rPr lang="en-GB" noProof="0"/>
              <a:t>Presentation</a:t>
            </a:r>
            <a:br>
              <a:rPr lang="en-GB" noProof="0"/>
            </a:br>
            <a:r>
              <a:rPr lang="en-GB" noProof="0"/>
              <a:t>Title</a:t>
            </a:r>
          </a:p>
        </p:txBody>
      </p:sp>
      <p:sp>
        <p:nvSpPr>
          <p:cNvPr id="16" name="Zástupný symbol pro číslo snímku 5"/>
          <p:cNvSpPr>
            <a:spLocks noGrp="1"/>
          </p:cNvSpPr>
          <p:nvPr userDrawn="1">
            <p:ph type="sldNum" sz="quarter" idx="10"/>
          </p:nvPr>
        </p:nvSpPr>
        <p:spPr>
          <a:xfrm>
            <a:off x="449262" y="5778000"/>
            <a:ext cx="269960" cy="180000"/>
          </a:xfrm>
        </p:spPr>
        <p:txBody>
          <a:bodyPr/>
          <a:lstStyle>
            <a:lvl1pPr>
              <a:defRPr>
                <a:noFill/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2" name="Zástupný symbol pro zápatí 6"/>
          <p:cNvSpPr>
            <a:spLocks noGrp="1"/>
          </p:cNvSpPr>
          <p:nvPr userDrawn="1">
            <p:ph type="ftr" sz="quarter" idx="11"/>
          </p:nvPr>
        </p:nvSpPr>
        <p:spPr>
          <a:xfrm>
            <a:off x="449262" y="5598000"/>
            <a:ext cx="7686738" cy="180000"/>
          </a:xfrm>
          <a:noFill/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GB" sz="1200" b="0" smtClean="0">
                <a:solidFill>
                  <a:schemeClr val="accent2"/>
                </a:solidFill>
                <a:effectLst/>
                <a:latin typeface="SKODA Next Light" panose="020B0304020603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en-GB" noProof="0"/>
              <a:t>SXX | Date | Presentation Title | Department | Name</a:t>
            </a:r>
          </a:p>
        </p:txBody>
      </p:sp>
    </p:spTree>
    <p:extLst>
      <p:ext uri="{BB962C8B-B14F-4D97-AF65-F5344CB8AC3E}">
        <p14:creationId xmlns:p14="http://schemas.microsoft.com/office/powerpoint/2010/main" val="111962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ext Chapt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692AA19F-6376-FAB3-2A4C-666DF6E7BED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41200" y="5659200"/>
            <a:ext cx="1002857" cy="108000"/>
          </a:xfrm>
          <a:prstGeom prst="rect">
            <a:avLst/>
          </a:prstGeom>
        </p:spPr>
      </p:pic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264"/>
          <a:ext cx="1587" cy="12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9" imgH="398" progId="TCLayout.ActiveDocument.1">
                  <p:embed/>
                </p:oleObj>
              </mc:Choice>
              <mc:Fallback>
                <p:oleObj name="think-cell Slide" r:id="rId5" imgW="399" imgH="398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264"/>
                        <a:ext cx="1587" cy="12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 userDrawn="1">
            <p:ph type="title" hasCustomPrompt="1"/>
          </p:nvPr>
        </p:nvSpPr>
        <p:spPr>
          <a:xfrm>
            <a:off x="449263" y="1314450"/>
            <a:ext cx="9791194" cy="1620000"/>
          </a:xfrm>
        </p:spPr>
        <p:txBody>
          <a:bodyPr anchor="t" anchorCtr="0">
            <a:noAutofit/>
          </a:bodyPr>
          <a:lstStyle>
            <a:lvl1pPr marL="0" indent="0">
              <a:lnSpc>
                <a:spcPts val="6000"/>
              </a:lnSpc>
              <a:buFont typeface="+mj-lt"/>
              <a:buNone/>
              <a:defRPr sz="6000" b="0" cap="none" baseline="0">
                <a:solidFill>
                  <a:schemeClr val="accent2"/>
                </a:solidFill>
                <a:latin typeface="SKODA Next Light" panose="020B0304020603020204" pitchFamily="34" charset="0"/>
              </a:defRPr>
            </a:lvl1pPr>
          </a:lstStyle>
          <a:p>
            <a:r>
              <a:rPr lang="en-GB" noProof="0" dirty="0"/>
              <a:t>1. Chapter</a:t>
            </a:r>
          </a:p>
        </p:txBody>
      </p:sp>
      <p:sp>
        <p:nvSpPr>
          <p:cNvPr id="11" name="Text Placeholder 19">
            <a:extLst>
              <a:ext uri="{FF2B5EF4-FFF2-40B4-BE49-F238E27FC236}">
                <a16:creationId xmlns:a16="http://schemas.microsoft.com/office/drawing/2014/main" id="{6DE4403A-6787-41E0-C252-174FF53546B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49601" y="3005930"/>
            <a:ext cx="8890856" cy="234077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buNone/>
              <a:defRPr sz="2000" b="0">
                <a:solidFill>
                  <a:schemeClr val="accent2"/>
                </a:solidFill>
                <a:latin typeface="SKODA Next Light" panose="020B0304020603020204" pitchFamily="34" charset="0"/>
              </a:defRPr>
            </a:lvl1pPr>
          </a:lstStyle>
          <a:p>
            <a:pPr lvl="0"/>
            <a:r>
              <a:rPr lang="en-GB" noProof="0"/>
              <a:t>Chapter detail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5DA00B0-72A3-6348-58CB-D5A08617BE18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GB" noProof="0"/>
              <a:t>SXX | Date | Presentation Title | Department | Nam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46914EB-8A13-3435-7731-7287A68E5A2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1E956721-BB38-4972-8ACD-5A2C9377E3B4}" type="slidenum">
              <a:rPr lang="en-GB" noProof="0" smtClean="0"/>
              <a:pPr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155993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BFF7A7E-2F88-BCC5-C055-008483D90682}"/>
              </a:ext>
            </a:extLst>
          </p:cNvPr>
          <p:cNvSpPr/>
          <p:nvPr userDrawn="1"/>
        </p:nvSpPr>
        <p:spPr>
          <a:xfrm>
            <a:off x="0" y="0"/>
            <a:ext cx="5220000" cy="1404000"/>
          </a:xfrm>
          <a:custGeom>
            <a:avLst/>
            <a:gdLst>
              <a:gd name="connsiteX0" fmla="*/ 0 w 5220000"/>
              <a:gd name="connsiteY0" fmla="*/ 0 h 1404000"/>
              <a:gd name="connsiteX1" fmla="*/ 5220000 w 5220000"/>
              <a:gd name="connsiteY1" fmla="*/ 0 h 1404000"/>
              <a:gd name="connsiteX2" fmla="*/ 5220000 w 5220000"/>
              <a:gd name="connsiteY2" fmla="*/ 1404000 h 1404000"/>
              <a:gd name="connsiteX3" fmla="*/ 0 w 5220000"/>
              <a:gd name="connsiteY3" fmla="*/ 1404000 h 1404000"/>
              <a:gd name="connsiteX4" fmla="*/ 0 w 5220000"/>
              <a:gd name="connsiteY4" fmla="*/ 0 h 1404000"/>
              <a:gd name="connsiteX0" fmla="*/ 0 w 5220000"/>
              <a:gd name="connsiteY0" fmla="*/ 0 h 1404000"/>
              <a:gd name="connsiteX1" fmla="*/ 5220000 w 5220000"/>
              <a:gd name="connsiteY1" fmla="*/ 0 h 1404000"/>
              <a:gd name="connsiteX2" fmla="*/ 5220000 w 5220000"/>
              <a:gd name="connsiteY2" fmla="*/ 1404000 h 1404000"/>
              <a:gd name="connsiteX3" fmla="*/ 0 w 5220000"/>
              <a:gd name="connsiteY3" fmla="*/ 1404000 h 1404000"/>
              <a:gd name="connsiteX4" fmla="*/ 0 w 5220000"/>
              <a:gd name="connsiteY4" fmla="*/ 0 h 1404000"/>
              <a:gd name="connsiteX0" fmla="*/ 0 w 5220000"/>
              <a:gd name="connsiteY0" fmla="*/ 0 h 1404000"/>
              <a:gd name="connsiteX1" fmla="*/ 5220000 w 5220000"/>
              <a:gd name="connsiteY1" fmla="*/ 0 h 1404000"/>
              <a:gd name="connsiteX2" fmla="*/ 0 w 5220000"/>
              <a:gd name="connsiteY2" fmla="*/ 1404000 h 1404000"/>
              <a:gd name="connsiteX3" fmla="*/ 0 w 5220000"/>
              <a:gd name="connsiteY3" fmla="*/ 0 h 140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20000" h="1404000">
                <a:moveTo>
                  <a:pt x="0" y="0"/>
                </a:moveTo>
                <a:lnTo>
                  <a:pt x="5220000" y="0"/>
                </a:lnTo>
                <a:lnTo>
                  <a:pt x="0" y="1404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CBDC93D-8677-8F98-0413-5586CAD9ECEE}"/>
              </a:ext>
            </a:extLst>
          </p:cNvPr>
          <p:cNvSpPr/>
          <p:nvPr userDrawn="1"/>
        </p:nvSpPr>
        <p:spPr>
          <a:xfrm>
            <a:off x="8136000" y="0"/>
            <a:ext cx="2556000" cy="6011863"/>
          </a:xfrm>
          <a:custGeom>
            <a:avLst/>
            <a:gdLst>
              <a:gd name="connsiteX0" fmla="*/ 0 w 2556000"/>
              <a:gd name="connsiteY0" fmla="*/ 0 h 6011863"/>
              <a:gd name="connsiteX1" fmla="*/ 2556000 w 2556000"/>
              <a:gd name="connsiteY1" fmla="*/ 0 h 6011863"/>
              <a:gd name="connsiteX2" fmla="*/ 2556000 w 2556000"/>
              <a:gd name="connsiteY2" fmla="*/ 6011863 h 6011863"/>
              <a:gd name="connsiteX3" fmla="*/ 0 w 2556000"/>
              <a:gd name="connsiteY3" fmla="*/ 6011863 h 6011863"/>
              <a:gd name="connsiteX4" fmla="*/ 0 w 2556000"/>
              <a:gd name="connsiteY4" fmla="*/ 0 h 6011863"/>
              <a:gd name="connsiteX0" fmla="*/ 1600200 w 2556000"/>
              <a:gd name="connsiteY0" fmla="*/ 0 h 6011863"/>
              <a:gd name="connsiteX1" fmla="*/ 2556000 w 2556000"/>
              <a:gd name="connsiteY1" fmla="*/ 0 h 6011863"/>
              <a:gd name="connsiteX2" fmla="*/ 2556000 w 2556000"/>
              <a:gd name="connsiteY2" fmla="*/ 6011863 h 6011863"/>
              <a:gd name="connsiteX3" fmla="*/ 0 w 2556000"/>
              <a:gd name="connsiteY3" fmla="*/ 6011863 h 6011863"/>
              <a:gd name="connsiteX4" fmla="*/ 1600200 w 2556000"/>
              <a:gd name="connsiteY4" fmla="*/ 0 h 6011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6000" h="6011863">
                <a:moveTo>
                  <a:pt x="1600200" y="0"/>
                </a:moveTo>
                <a:lnTo>
                  <a:pt x="2556000" y="0"/>
                </a:lnTo>
                <a:lnTo>
                  <a:pt x="2556000" y="6011863"/>
                </a:lnTo>
                <a:lnTo>
                  <a:pt x="0" y="6011863"/>
                </a:lnTo>
                <a:lnTo>
                  <a:pt x="1600200" y="0"/>
                </a:lnTo>
                <a:close/>
              </a:path>
            </a:pathLst>
          </a:cu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7DFEA1C-1F23-DFFF-0231-E470B22692F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41200" y="5659200"/>
            <a:ext cx="1002857" cy="108000"/>
          </a:xfrm>
          <a:prstGeom prst="rect">
            <a:avLst/>
          </a:prstGeom>
        </p:spPr>
      </p:pic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264"/>
          <a:ext cx="1587" cy="12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9" imgH="398" progId="TCLayout.ActiveDocument.1">
                  <p:embed/>
                </p:oleObj>
              </mc:Choice>
              <mc:Fallback>
                <p:oleObj name="think-cell Slide" r:id="rId5" imgW="399" imgH="398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264"/>
                        <a:ext cx="1587" cy="12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>
            <p:ph type="title" hasCustomPrompt="1"/>
          </p:nvPr>
        </p:nvSpPr>
        <p:spPr>
          <a:xfrm>
            <a:off x="449263" y="1926000"/>
            <a:ext cx="7686550" cy="3420000"/>
          </a:xfrm>
        </p:spPr>
        <p:txBody>
          <a:bodyPr anchor="t" anchorCtr="0">
            <a:noAutofit/>
          </a:bodyPr>
          <a:lstStyle>
            <a:lvl1pPr>
              <a:lnSpc>
                <a:spcPts val="8000"/>
              </a:lnSpc>
              <a:defRPr sz="8000" b="0" cap="none" baseline="0">
                <a:solidFill>
                  <a:schemeClr val="accent1"/>
                </a:solidFill>
                <a:latin typeface="SKODA Next Light" panose="020B0304020603020204" pitchFamily="34" charset="0"/>
              </a:defRPr>
            </a:lvl1pPr>
          </a:lstStyle>
          <a:p>
            <a:r>
              <a:rPr lang="en-GB" noProof="0" dirty="0"/>
              <a:t>Thank You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A95BF692-E6D8-7522-3939-8E0A92A62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46000" y="5598000"/>
            <a:ext cx="7289813" cy="18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noProof="0"/>
              <a:t>SXX | Date | Presentation Title | Department | Name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63C25813-455F-091C-F4E2-B3972C902DC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E956721-BB38-4972-8ACD-5A2C9377E3B4}" type="slidenum">
              <a:rPr lang="en-GB" noProof="0" smtClean="0"/>
              <a:pPr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945905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hank you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8CBDC93D-8677-8F98-0413-5586CAD9ECEE}"/>
              </a:ext>
            </a:extLst>
          </p:cNvPr>
          <p:cNvSpPr/>
          <p:nvPr userDrawn="1"/>
        </p:nvSpPr>
        <p:spPr>
          <a:xfrm>
            <a:off x="8136000" y="0"/>
            <a:ext cx="2556000" cy="6011863"/>
          </a:xfrm>
          <a:custGeom>
            <a:avLst/>
            <a:gdLst>
              <a:gd name="connsiteX0" fmla="*/ 0 w 2556000"/>
              <a:gd name="connsiteY0" fmla="*/ 0 h 6011863"/>
              <a:gd name="connsiteX1" fmla="*/ 2556000 w 2556000"/>
              <a:gd name="connsiteY1" fmla="*/ 0 h 6011863"/>
              <a:gd name="connsiteX2" fmla="*/ 2556000 w 2556000"/>
              <a:gd name="connsiteY2" fmla="*/ 6011863 h 6011863"/>
              <a:gd name="connsiteX3" fmla="*/ 0 w 2556000"/>
              <a:gd name="connsiteY3" fmla="*/ 6011863 h 6011863"/>
              <a:gd name="connsiteX4" fmla="*/ 0 w 2556000"/>
              <a:gd name="connsiteY4" fmla="*/ 0 h 6011863"/>
              <a:gd name="connsiteX0" fmla="*/ 1600200 w 2556000"/>
              <a:gd name="connsiteY0" fmla="*/ 0 h 6011863"/>
              <a:gd name="connsiteX1" fmla="*/ 2556000 w 2556000"/>
              <a:gd name="connsiteY1" fmla="*/ 0 h 6011863"/>
              <a:gd name="connsiteX2" fmla="*/ 2556000 w 2556000"/>
              <a:gd name="connsiteY2" fmla="*/ 6011863 h 6011863"/>
              <a:gd name="connsiteX3" fmla="*/ 0 w 2556000"/>
              <a:gd name="connsiteY3" fmla="*/ 6011863 h 6011863"/>
              <a:gd name="connsiteX4" fmla="*/ 1600200 w 2556000"/>
              <a:gd name="connsiteY4" fmla="*/ 0 h 6011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6000" h="6011863">
                <a:moveTo>
                  <a:pt x="1600200" y="0"/>
                </a:moveTo>
                <a:lnTo>
                  <a:pt x="2556000" y="0"/>
                </a:lnTo>
                <a:lnTo>
                  <a:pt x="2556000" y="6011863"/>
                </a:lnTo>
                <a:lnTo>
                  <a:pt x="0" y="6011863"/>
                </a:lnTo>
                <a:lnTo>
                  <a:pt x="1600200" y="0"/>
                </a:lnTo>
                <a:close/>
              </a:path>
            </a:pathLst>
          </a:cu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7DFEA1C-1F23-DFFF-0231-E470B22692F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41200" y="5659200"/>
            <a:ext cx="1002857" cy="108000"/>
          </a:xfrm>
          <a:prstGeom prst="rect">
            <a:avLst/>
          </a:prstGeom>
        </p:spPr>
      </p:pic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264"/>
          <a:ext cx="1587" cy="12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9" imgH="398" progId="TCLayout.ActiveDocument.1">
                  <p:embed/>
                </p:oleObj>
              </mc:Choice>
              <mc:Fallback>
                <p:oleObj name="think-cell Slide" r:id="rId5" imgW="399" imgH="398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264"/>
                        <a:ext cx="1587" cy="12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A95BF692-E6D8-7522-3939-8E0A92A62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46000" y="5598000"/>
            <a:ext cx="7289813" cy="18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noProof="0"/>
              <a:t>SXX | Date | Presentation Title | Department | Name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63C25813-455F-091C-F4E2-B3972C902DC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E956721-BB38-4972-8ACD-5A2C9377E3B4}" type="slidenum">
              <a:rPr lang="en-GB" noProof="0" smtClean="0"/>
              <a:pPr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816217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4">
            <a:extLst>
              <a:ext uri="{FF2B5EF4-FFF2-40B4-BE49-F238E27FC236}">
                <a16:creationId xmlns:a16="http://schemas.microsoft.com/office/drawing/2014/main" id="{A2985358-9CAA-B6FA-88CF-228B2CA9D80F}"/>
              </a:ext>
            </a:extLst>
          </p:cNvPr>
          <p:cNvSpPr/>
          <p:nvPr userDrawn="1"/>
        </p:nvSpPr>
        <p:spPr>
          <a:xfrm>
            <a:off x="0" y="0"/>
            <a:ext cx="3762375" cy="1009650"/>
          </a:xfrm>
          <a:custGeom>
            <a:avLst/>
            <a:gdLst>
              <a:gd name="connsiteX0" fmla="*/ 0 w 5220000"/>
              <a:gd name="connsiteY0" fmla="*/ 0 h 1404000"/>
              <a:gd name="connsiteX1" fmla="*/ 5220000 w 5220000"/>
              <a:gd name="connsiteY1" fmla="*/ 0 h 1404000"/>
              <a:gd name="connsiteX2" fmla="*/ 5220000 w 5220000"/>
              <a:gd name="connsiteY2" fmla="*/ 1404000 h 1404000"/>
              <a:gd name="connsiteX3" fmla="*/ 0 w 5220000"/>
              <a:gd name="connsiteY3" fmla="*/ 1404000 h 1404000"/>
              <a:gd name="connsiteX4" fmla="*/ 0 w 5220000"/>
              <a:gd name="connsiteY4" fmla="*/ 0 h 1404000"/>
              <a:gd name="connsiteX0" fmla="*/ 0 w 5220000"/>
              <a:gd name="connsiteY0" fmla="*/ 0 h 1404000"/>
              <a:gd name="connsiteX1" fmla="*/ 5220000 w 5220000"/>
              <a:gd name="connsiteY1" fmla="*/ 0 h 1404000"/>
              <a:gd name="connsiteX2" fmla="*/ 5220000 w 5220000"/>
              <a:gd name="connsiteY2" fmla="*/ 1404000 h 1404000"/>
              <a:gd name="connsiteX3" fmla="*/ 0 w 5220000"/>
              <a:gd name="connsiteY3" fmla="*/ 1404000 h 1404000"/>
              <a:gd name="connsiteX4" fmla="*/ 0 w 5220000"/>
              <a:gd name="connsiteY4" fmla="*/ 0 h 1404000"/>
              <a:gd name="connsiteX0" fmla="*/ 0 w 5220000"/>
              <a:gd name="connsiteY0" fmla="*/ 0 h 1404000"/>
              <a:gd name="connsiteX1" fmla="*/ 5220000 w 5220000"/>
              <a:gd name="connsiteY1" fmla="*/ 0 h 1404000"/>
              <a:gd name="connsiteX2" fmla="*/ 0 w 5220000"/>
              <a:gd name="connsiteY2" fmla="*/ 1404000 h 1404000"/>
              <a:gd name="connsiteX3" fmla="*/ 0 w 5220000"/>
              <a:gd name="connsiteY3" fmla="*/ 0 h 140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20000" h="1404000">
                <a:moveTo>
                  <a:pt x="0" y="0"/>
                </a:moveTo>
                <a:lnTo>
                  <a:pt x="5220000" y="0"/>
                </a:lnTo>
                <a:lnTo>
                  <a:pt x="0" y="1404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B7243EA-87C5-1D89-7207-56A4E40BAA96}"/>
              </a:ext>
            </a:extLst>
          </p:cNvPr>
          <p:cNvSpPr/>
          <p:nvPr userDrawn="1"/>
        </p:nvSpPr>
        <p:spPr>
          <a:xfrm>
            <a:off x="5544000" y="0"/>
            <a:ext cx="5148000" cy="6011863"/>
          </a:xfrm>
          <a:custGeom>
            <a:avLst/>
            <a:gdLst>
              <a:gd name="connsiteX0" fmla="*/ 0 w 5148000"/>
              <a:gd name="connsiteY0" fmla="*/ 0 h 6011863"/>
              <a:gd name="connsiteX1" fmla="*/ 5148000 w 5148000"/>
              <a:gd name="connsiteY1" fmla="*/ 0 h 6011863"/>
              <a:gd name="connsiteX2" fmla="*/ 5148000 w 5148000"/>
              <a:gd name="connsiteY2" fmla="*/ 6011863 h 6011863"/>
              <a:gd name="connsiteX3" fmla="*/ 0 w 5148000"/>
              <a:gd name="connsiteY3" fmla="*/ 6011863 h 6011863"/>
              <a:gd name="connsiteX4" fmla="*/ 0 w 5148000"/>
              <a:gd name="connsiteY4" fmla="*/ 0 h 6011863"/>
              <a:gd name="connsiteX0" fmla="*/ 1609725 w 5148000"/>
              <a:gd name="connsiteY0" fmla="*/ 0 h 6011863"/>
              <a:gd name="connsiteX1" fmla="*/ 5148000 w 5148000"/>
              <a:gd name="connsiteY1" fmla="*/ 0 h 6011863"/>
              <a:gd name="connsiteX2" fmla="*/ 5148000 w 5148000"/>
              <a:gd name="connsiteY2" fmla="*/ 6011863 h 6011863"/>
              <a:gd name="connsiteX3" fmla="*/ 0 w 5148000"/>
              <a:gd name="connsiteY3" fmla="*/ 6011863 h 6011863"/>
              <a:gd name="connsiteX4" fmla="*/ 1609725 w 5148000"/>
              <a:gd name="connsiteY4" fmla="*/ 0 h 6011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48000" h="6011863">
                <a:moveTo>
                  <a:pt x="1609725" y="0"/>
                </a:moveTo>
                <a:lnTo>
                  <a:pt x="5148000" y="0"/>
                </a:lnTo>
                <a:lnTo>
                  <a:pt x="5148000" y="6011863"/>
                </a:lnTo>
                <a:lnTo>
                  <a:pt x="0" y="6011863"/>
                </a:lnTo>
                <a:lnTo>
                  <a:pt x="1609725" y="0"/>
                </a:lnTo>
                <a:close/>
              </a:path>
            </a:pathLst>
          </a:cu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4BD390AB-1E56-E27C-3435-30045855478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41200" y="5659200"/>
            <a:ext cx="1002857" cy="108000"/>
          </a:xfrm>
          <a:prstGeom prst="rect">
            <a:avLst/>
          </a:prstGeom>
        </p:spPr>
      </p:pic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264"/>
          <a:ext cx="1587" cy="12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9" imgH="398" progId="TCLayout.ActiveDocument.1">
                  <p:embed/>
                </p:oleObj>
              </mc:Choice>
              <mc:Fallback>
                <p:oleObj name="think-cell Slide" r:id="rId5" imgW="399" imgH="398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264"/>
                        <a:ext cx="1587" cy="12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 userDrawn="1">
            <p:ph type="title" hasCustomPrompt="1"/>
          </p:nvPr>
        </p:nvSpPr>
        <p:spPr>
          <a:xfrm>
            <a:off x="449263" y="1314450"/>
            <a:ext cx="5256000" cy="4031550"/>
          </a:xfrm>
        </p:spPr>
        <p:txBody>
          <a:bodyPr anchor="t" anchorCtr="0">
            <a:noAutofit/>
          </a:bodyPr>
          <a:lstStyle>
            <a:lvl1pPr>
              <a:lnSpc>
                <a:spcPts val="6000"/>
              </a:lnSpc>
              <a:defRPr sz="6000" b="0" cap="none" baseline="0">
                <a:solidFill>
                  <a:schemeClr val="accent1"/>
                </a:solidFill>
                <a:latin typeface="SKODA Next Light" panose="020B0304020603020204" pitchFamily="34" charset="0"/>
              </a:defRPr>
            </a:lvl1pPr>
          </a:lstStyle>
          <a:p>
            <a:r>
              <a:rPr lang="en-GB" noProof="0" dirty="0"/>
              <a:t>Thank You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BD0962D-1E63-FEDE-6F59-D9BA7276969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434788" y="1314450"/>
            <a:ext cx="1152000" cy="1548000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chemeClr val="accent2"/>
                </a:solidFill>
              </a:defRPr>
            </a:lvl1pPr>
          </a:lstStyle>
          <a:p>
            <a:r>
              <a:rPr lang="cs-CZ"/>
              <a:t>Kliknutím na ikonu přidáte obrázek.</a:t>
            </a:r>
            <a:endParaRPr lang="en-GB" dirty="0"/>
          </a:p>
        </p:txBody>
      </p:sp>
      <p:sp>
        <p:nvSpPr>
          <p:cNvPr id="18" name="Picture Placeholder 16">
            <a:extLst>
              <a:ext uri="{FF2B5EF4-FFF2-40B4-BE49-F238E27FC236}">
                <a16:creationId xmlns:a16="http://schemas.microsoft.com/office/drawing/2014/main" id="{A153B96D-10A9-DB89-FDE8-61ADD55197E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090550" y="1314450"/>
            <a:ext cx="1152000" cy="1548000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chemeClr val="accent2"/>
                </a:solidFill>
              </a:defRPr>
            </a:lvl1pPr>
          </a:lstStyle>
          <a:p>
            <a:r>
              <a:rPr lang="cs-CZ"/>
              <a:t>Kliknutím na ikonu přidáte obrázek.</a:t>
            </a:r>
            <a:endParaRPr lang="en-GB" dirty="0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EE0344C5-D699-2FB3-554F-5651999873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434787" y="2970000"/>
            <a:ext cx="1152001" cy="14400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9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1"/>
              <a:t>Name Lastname</a:t>
            </a:r>
          </a:p>
        </p:txBody>
      </p:sp>
      <p:sp>
        <p:nvSpPr>
          <p:cNvPr id="21" name="Text Placeholder 19">
            <a:extLst>
              <a:ext uri="{FF2B5EF4-FFF2-40B4-BE49-F238E27FC236}">
                <a16:creationId xmlns:a16="http://schemas.microsoft.com/office/drawing/2014/main" id="{2EF5C1AF-6DA5-ED65-5351-59EBC96FD06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34786" y="3112875"/>
            <a:ext cx="1152001" cy="14400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9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1"/>
              <a:t>Positionname</a:t>
            </a:r>
          </a:p>
        </p:txBody>
      </p:sp>
      <p:sp>
        <p:nvSpPr>
          <p:cNvPr id="22" name="Text Placeholder 19">
            <a:extLst>
              <a:ext uri="{FF2B5EF4-FFF2-40B4-BE49-F238E27FC236}">
                <a16:creationId xmlns:a16="http://schemas.microsoft.com/office/drawing/2014/main" id="{92F09B2E-02DD-B1B0-D4FE-7743F865D39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088456" y="2970000"/>
            <a:ext cx="1152001" cy="14400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9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1"/>
              <a:t>Name Lastname</a:t>
            </a:r>
          </a:p>
        </p:txBody>
      </p:sp>
      <p:sp>
        <p:nvSpPr>
          <p:cNvPr id="23" name="Text Placeholder 19">
            <a:extLst>
              <a:ext uri="{FF2B5EF4-FFF2-40B4-BE49-F238E27FC236}">
                <a16:creationId xmlns:a16="http://schemas.microsoft.com/office/drawing/2014/main" id="{49B1DC85-4192-09B6-D800-266CEE24849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88455" y="3112875"/>
            <a:ext cx="1152001" cy="14400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9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1"/>
              <a:t>Positionname</a:t>
            </a:r>
          </a:p>
        </p:txBody>
      </p:sp>
      <p:sp>
        <p:nvSpPr>
          <p:cNvPr id="24" name="Text Placeholder 19">
            <a:extLst>
              <a:ext uri="{FF2B5EF4-FFF2-40B4-BE49-F238E27FC236}">
                <a16:creationId xmlns:a16="http://schemas.microsoft.com/office/drawing/2014/main" id="{ABE8CAFB-0160-0A8F-FB22-C93DDF69CC6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56000" y="4464000"/>
            <a:ext cx="4086000" cy="882000"/>
          </a:xfr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buNone/>
              <a:defRPr sz="14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1"/>
              <a:t>tř. Václava Klementa 869 Mladá Boleslav II</a:t>
            </a:r>
            <a:br>
              <a:rPr lang="en-GB" noProof="1"/>
            </a:br>
            <a:r>
              <a:rPr lang="en-GB" noProof="1"/>
              <a:t>293 01 Czech Republic</a:t>
            </a:r>
          </a:p>
        </p:txBody>
      </p:sp>
      <p:sp>
        <p:nvSpPr>
          <p:cNvPr id="25" name="Text Placeholder 19">
            <a:extLst>
              <a:ext uri="{FF2B5EF4-FFF2-40B4-BE49-F238E27FC236}">
                <a16:creationId xmlns:a16="http://schemas.microsoft.com/office/drawing/2014/main" id="{A98C13C5-D07A-AACD-353F-E0DD8400F3D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56550" y="4266000"/>
            <a:ext cx="4086000" cy="198000"/>
          </a:xfr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buNone/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1"/>
              <a:t>Škoda Auto a.s.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36566C6-F354-0ABD-6A11-3BE97825439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846000" y="5598000"/>
            <a:ext cx="4698000" cy="180000"/>
          </a:xfrm>
        </p:spPr>
        <p:txBody>
          <a:bodyPr>
            <a:norm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SXX | Date | Presentation Title | Department | Name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D216088-5F02-69F6-F3F3-D16FE1E30EFB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E956721-BB38-4972-8ACD-5A2C9377E3B4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2678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BFF7A7E-2F88-BCC5-C055-008483D90682}"/>
              </a:ext>
            </a:extLst>
          </p:cNvPr>
          <p:cNvSpPr/>
          <p:nvPr userDrawn="1"/>
        </p:nvSpPr>
        <p:spPr>
          <a:xfrm>
            <a:off x="0" y="0"/>
            <a:ext cx="5220000" cy="1404000"/>
          </a:xfrm>
          <a:custGeom>
            <a:avLst/>
            <a:gdLst>
              <a:gd name="connsiteX0" fmla="*/ 0 w 5220000"/>
              <a:gd name="connsiteY0" fmla="*/ 0 h 1404000"/>
              <a:gd name="connsiteX1" fmla="*/ 5220000 w 5220000"/>
              <a:gd name="connsiteY1" fmla="*/ 0 h 1404000"/>
              <a:gd name="connsiteX2" fmla="*/ 5220000 w 5220000"/>
              <a:gd name="connsiteY2" fmla="*/ 1404000 h 1404000"/>
              <a:gd name="connsiteX3" fmla="*/ 0 w 5220000"/>
              <a:gd name="connsiteY3" fmla="*/ 1404000 h 1404000"/>
              <a:gd name="connsiteX4" fmla="*/ 0 w 5220000"/>
              <a:gd name="connsiteY4" fmla="*/ 0 h 1404000"/>
              <a:gd name="connsiteX0" fmla="*/ 0 w 5220000"/>
              <a:gd name="connsiteY0" fmla="*/ 0 h 1404000"/>
              <a:gd name="connsiteX1" fmla="*/ 5220000 w 5220000"/>
              <a:gd name="connsiteY1" fmla="*/ 0 h 1404000"/>
              <a:gd name="connsiteX2" fmla="*/ 5220000 w 5220000"/>
              <a:gd name="connsiteY2" fmla="*/ 1404000 h 1404000"/>
              <a:gd name="connsiteX3" fmla="*/ 0 w 5220000"/>
              <a:gd name="connsiteY3" fmla="*/ 1404000 h 1404000"/>
              <a:gd name="connsiteX4" fmla="*/ 0 w 5220000"/>
              <a:gd name="connsiteY4" fmla="*/ 0 h 1404000"/>
              <a:gd name="connsiteX0" fmla="*/ 0 w 5220000"/>
              <a:gd name="connsiteY0" fmla="*/ 0 h 1404000"/>
              <a:gd name="connsiteX1" fmla="*/ 5220000 w 5220000"/>
              <a:gd name="connsiteY1" fmla="*/ 0 h 1404000"/>
              <a:gd name="connsiteX2" fmla="*/ 0 w 5220000"/>
              <a:gd name="connsiteY2" fmla="*/ 1404000 h 1404000"/>
              <a:gd name="connsiteX3" fmla="*/ 0 w 5220000"/>
              <a:gd name="connsiteY3" fmla="*/ 0 h 140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20000" h="1404000">
                <a:moveTo>
                  <a:pt x="0" y="0"/>
                </a:moveTo>
                <a:lnTo>
                  <a:pt x="5220000" y="0"/>
                </a:lnTo>
                <a:lnTo>
                  <a:pt x="0" y="1404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noProof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CBDC93D-8677-8F98-0413-5586CAD9ECEE}"/>
              </a:ext>
            </a:extLst>
          </p:cNvPr>
          <p:cNvSpPr/>
          <p:nvPr userDrawn="1"/>
        </p:nvSpPr>
        <p:spPr>
          <a:xfrm>
            <a:off x="8136000" y="0"/>
            <a:ext cx="2556000" cy="6011863"/>
          </a:xfrm>
          <a:custGeom>
            <a:avLst/>
            <a:gdLst>
              <a:gd name="connsiteX0" fmla="*/ 0 w 2556000"/>
              <a:gd name="connsiteY0" fmla="*/ 0 h 6011863"/>
              <a:gd name="connsiteX1" fmla="*/ 2556000 w 2556000"/>
              <a:gd name="connsiteY1" fmla="*/ 0 h 6011863"/>
              <a:gd name="connsiteX2" fmla="*/ 2556000 w 2556000"/>
              <a:gd name="connsiteY2" fmla="*/ 6011863 h 6011863"/>
              <a:gd name="connsiteX3" fmla="*/ 0 w 2556000"/>
              <a:gd name="connsiteY3" fmla="*/ 6011863 h 6011863"/>
              <a:gd name="connsiteX4" fmla="*/ 0 w 2556000"/>
              <a:gd name="connsiteY4" fmla="*/ 0 h 6011863"/>
              <a:gd name="connsiteX0" fmla="*/ 1600200 w 2556000"/>
              <a:gd name="connsiteY0" fmla="*/ 0 h 6011863"/>
              <a:gd name="connsiteX1" fmla="*/ 2556000 w 2556000"/>
              <a:gd name="connsiteY1" fmla="*/ 0 h 6011863"/>
              <a:gd name="connsiteX2" fmla="*/ 2556000 w 2556000"/>
              <a:gd name="connsiteY2" fmla="*/ 6011863 h 6011863"/>
              <a:gd name="connsiteX3" fmla="*/ 0 w 2556000"/>
              <a:gd name="connsiteY3" fmla="*/ 6011863 h 6011863"/>
              <a:gd name="connsiteX4" fmla="*/ 1600200 w 2556000"/>
              <a:gd name="connsiteY4" fmla="*/ 0 h 6011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56000" h="6011863">
                <a:moveTo>
                  <a:pt x="1600200" y="0"/>
                </a:moveTo>
                <a:lnTo>
                  <a:pt x="2556000" y="0"/>
                </a:lnTo>
                <a:lnTo>
                  <a:pt x="2556000" y="6011863"/>
                </a:lnTo>
                <a:lnTo>
                  <a:pt x="0" y="6011863"/>
                </a:lnTo>
                <a:lnTo>
                  <a:pt x="1600200" y="0"/>
                </a:lnTo>
                <a:close/>
              </a:path>
            </a:pathLst>
          </a:cu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noProof="0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7DFEA1C-1F23-DFFF-0231-E470B22692F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41200" y="5659200"/>
            <a:ext cx="1002857" cy="108000"/>
          </a:xfrm>
          <a:prstGeom prst="rect">
            <a:avLst/>
          </a:prstGeom>
        </p:spPr>
      </p:pic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264"/>
          <a:ext cx="1587" cy="12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9" imgH="398" progId="TCLayout.ActiveDocument.1">
                  <p:embed/>
                </p:oleObj>
              </mc:Choice>
              <mc:Fallback>
                <p:oleObj name="think-cell Slide" r:id="rId5" imgW="399" imgH="398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264"/>
                        <a:ext cx="1587" cy="12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 userDrawn="1">
            <p:ph type="title" hasCustomPrompt="1"/>
          </p:nvPr>
        </p:nvSpPr>
        <p:spPr>
          <a:xfrm>
            <a:off x="449263" y="1926000"/>
            <a:ext cx="7686550" cy="3420000"/>
          </a:xfrm>
        </p:spPr>
        <p:txBody>
          <a:bodyPr anchor="t" anchorCtr="0">
            <a:noAutofit/>
          </a:bodyPr>
          <a:lstStyle>
            <a:lvl1pPr>
              <a:lnSpc>
                <a:spcPts val="8000"/>
              </a:lnSpc>
              <a:defRPr sz="8000" b="0" cap="none" baseline="0">
                <a:solidFill>
                  <a:schemeClr val="accent1"/>
                </a:solidFill>
                <a:latin typeface="SKODA Next Light" panose="020B0304020603020204" pitchFamily="34" charset="0"/>
              </a:defRPr>
            </a:lvl1pPr>
          </a:lstStyle>
          <a:p>
            <a:r>
              <a:rPr lang="cs-CZ" noProof="0"/>
              <a:t>Děkuji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A95BF692-E6D8-7522-3939-8E0A92A62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846000" y="5598000"/>
            <a:ext cx="7289813" cy="18000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cs-CZ" noProof="0"/>
              <a:t>| 08.11. 2023 | Odborná praxe | GQD-1 | Ondřej Hlaváček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63C25813-455F-091C-F4E2-B3972C902DC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</p:spTree>
    <p:extLst>
      <p:ext uri="{BB962C8B-B14F-4D97-AF65-F5344CB8AC3E}">
        <p14:creationId xmlns:p14="http://schemas.microsoft.com/office/powerpoint/2010/main" val="2187524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 userDrawn="1">
            <p:ph idx="1" hasCustomPrompt="1"/>
          </p:nvPr>
        </p:nvSpPr>
        <p:spPr>
          <a:xfrm>
            <a:off x="449263" y="1314450"/>
            <a:ext cx="9793287" cy="4032250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en-GB" noProof="0"/>
              <a:t>First level text</a:t>
            </a:r>
          </a:p>
          <a:p>
            <a:pPr lvl="1"/>
            <a:r>
              <a:rPr lang="en-GB" noProof="0"/>
              <a:t>Second level text</a:t>
            </a:r>
          </a:p>
          <a:p>
            <a:pPr lvl="2"/>
            <a:r>
              <a:rPr lang="en-GB" noProof="0"/>
              <a:t>Third level text</a:t>
            </a:r>
          </a:p>
          <a:p>
            <a:pPr lvl="3"/>
            <a:r>
              <a:rPr lang="en-GB" noProof="0"/>
              <a:t>Fourth level text</a:t>
            </a:r>
          </a:p>
          <a:p>
            <a:pPr lvl="4"/>
            <a:r>
              <a:rPr lang="en-GB" noProof="0"/>
              <a:t>Fifth level text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 userDrawn="1"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8" name="Zástupný symbol pro zápatí 7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en-GB" noProof="0"/>
              <a:t>SXX | Date | Presentation Title | Department | Name</a:t>
            </a:r>
          </a:p>
        </p:txBody>
      </p:sp>
      <p:sp>
        <p:nvSpPr>
          <p:cNvPr id="29" name="Zástupný symbol pro text 28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449263" y="649287"/>
            <a:ext cx="9793288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en-GB" noProof="0"/>
              <a:t>Subheading</a:t>
            </a:r>
          </a:p>
        </p:txBody>
      </p:sp>
      <p:sp>
        <p:nvSpPr>
          <p:cNvPr id="30" name="Nadpis 29"/>
          <p:cNvSpPr>
            <a:spLocks noGrp="1"/>
          </p:cNvSpPr>
          <p:nvPr userDrawn="1">
            <p:ph type="title" hasCustomPrompt="1"/>
          </p:nvPr>
        </p:nvSpPr>
        <p:spPr>
          <a:xfrm>
            <a:off x="449263" y="269875"/>
            <a:ext cx="9793287" cy="360000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/>
              <a:t>Headline Text (Page Message)</a:t>
            </a:r>
          </a:p>
        </p:txBody>
      </p:sp>
    </p:spTree>
    <p:extLst>
      <p:ext uri="{BB962C8B-B14F-4D97-AF65-F5344CB8AC3E}">
        <p14:creationId xmlns:p14="http://schemas.microsoft.com/office/powerpoint/2010/main" val="3686025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449263" y="1314450"/>
            <a:ext cx="4824412" cy="4032250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en-GB" noProof="0"/>
              <a:t>First level text</a:t>
            </a:r>
          </a:p>
          <a:p>
            <a:pPr lvl="1"/>
            <a:r>
              <a:rPr lang="en-GB" noProof="0"/>
              <a:t>Second level text</a:t>
            </a:r>
          </a:p>
          <a:p>
            <a:pPr lvl="2"/>
            <a:r>
              <a:rPr lang="en-GB" noProof="0"/>
              <a:t>Third level text</a:t>
            </a:r>
          </a:p>
          <a:p>
            <a:pPr lvl="3"/>
            <a:r>
              <a:rPr lang="en-GB" noProof="0"/>
              <a:t>Fourth level text</a:t>
            </a:r>
          </a:p>
          <a:p>
            <a:pPr lvl="4"/>
            <a:r>
              <a:rPr lang="en-GB" noProof="0"/>
              <a:t>Fifth level text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en-GB" noProof="0"/>
              <a:t>SXX | Date | Presentation Title | Department | Name</a:t>
            </a:r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648000"/>
            <a:ext cx="9793288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en-GB" noProof="0"/>
              <a:t>Subheading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Headline Text (Page Message)</a:t>
            </a:r>
          </a:p>
        </p:txBody>
      </p:sp>
      <p:sp>
        <p:nvSpPr>
          <p:cNvPr id="9" name="Zástupný symbol pro obsah 2"/>
          <p:cNvSpPr>
            <a:spLocks noGrp="1"/>
          </p:cNvSpPr>
          <p:nvPr>
            <p:ph idx="13" hasCustomPrompt="1"/>
          </p:nvPr>
        </p:nvSpPr>
        <p:spPr>
          <a:xfrm>
            <a:off x="5418139" y="1314450"/>
            <a:ext cx="4824411" cy="4032250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en-GB" noProof="0"/>
              <a:t>First level text</a:t>
            </a:r>
          </a:p>
          <a:p>
            <a:pPr lvl="1"/>
            <a:r>
              <a:rPr lang="en-GB" noProof="0"/>
              <a:t>Second level text</a:t>
            </a:r>
          </a:p>
          <a:p>
            <a:pPr lvl="2"/>
            <a:r>
              <a:rPr lang="en-GB" noProof="0"/>
              <a:t>Third level text</a:t>
            </a:r>
          </a:p>
          <a:p>
            <a:pPr lvl="3"/>
            <a:r>
              <a:rPr lang="en-GB" noProof="0"/>
              <a:t>Fourth level text</a:t>
            </a:r>
          </a:p>
          <a:p>
            <a:pPr lvl="4"/>
            <a:r>
              <a:rPr lang="en-GB" noProof="0"/>
              <a:t>Fifth level text</a:t>
            </a:r>
          </a:p>
        </p:txBody>
      </p:sp>
    </p:spTree>
    <p:extLst>
      <p:ext uri="{BB962C8B-B14F-4D97-AF65-F5344CB8AC3E}">
        <p14:creationId xmlns:p14="http://schemas.microsoft.com/office/powerpoint/2010/main" val="3317338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 hasCustomPrompt="1"/>
          </p:nvPr>
        </p:nvSpPr>
        <p:spPr>
          <a:xfrm>
            <a:off x="449261" y="1314450"/>
            <a:ext cx="3168651" cy="4032250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en-GB" noProof="0"/>
              <a:t>First level text</a:t>
            </a:r>
          </a:p>
          <a:p>
            <a:pPr lvl="1"/>
            <a:r>
              <a:rPr lang="en-GB" noProof="0"/>
              <a:t>Second level text</a:t>
            </a:r>
          </a:p>
          <a:p>
            <a:pPr lvl="2"/>
            <a:r>
              <a:rPr lang="en-GB" noProof="0"/>
              <a:t>Third level text</a:t>
            </a:r>
          </a:p>
          <a:p>
            <a:pPr lvl="3"/>
            <a:r>
              <a:rPr lang="en-GB" noProof="0"/>
              <a:t>Fourth level text</a:t>
            </a:r>
          </a:p>
          <a:p>
            <a:pPr lvl="4"/>
            <a:r>
              <a:rPr lang="en-GB" noProof="0"/>
              <a:t>Fifth level text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en-GB" noProof="0"/>
              <a:t>SXX | Date | Presentation Title | Department | Name</a:t>
            </a:r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648000"/>
            <a:ext cx="9793287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en-GB" noProof="0"/>
              <a:t>Subheading</a:t>
            </a:r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Headline Text (Page Message)</a:t>
            </a:r>
          </a:p>
        </p:txBody>
      </p:sp>
      <p:sp>
        <p:nvSpPr>
          <p:cNvPr id="10" name="Zástupný symbol pro obsah 2"/>
          <p:cNvSpPr>
            <a:spLocks noGrp="1"/>
          </p:cNvSpPr>
          <p:nvPr>
            <p:ph idx="13" hasCustomPrompt="1"/>
          </p:nvPr>
        </p:nvSpPr>
        <p:spPr>
          <a:xfrm>
            <a:off x="3762375" y="1314450"/>
            <a:ext cx="3167063" cy="4032250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en-GB" noProof="0"/>
              <a:t>First level text</a:t>
            </a:r>
          </a:p>
          <a:p>
            <a:pPr lvl="1"/>
            <a:r>
              <a:rPr lang="en-GB" noProof="0"/>
              <a:t>Second level text</a:t>
            </a:r>
          </a:p>
          <a:p>
            <a:pPr lvl="2"/>
            <a:r>
              <a:rPr lang="en-GB" noProof="0"/>
              <a:t>Third level text</a:t>
            </a:r>
          </a:p>
          <a:p>
            <a:pPr lvl="3"/>
            <a:r>
              <a:rPr lang="en-GB" noProof="0"/>
              <a:t>Fourth level text</a:t>
            </a:r>
          </a:p>
          <a:p>
            <a:pPr lvl="4"/>
            <a:r>
              <a:rPr lang="en-GB" noProof="0"/>
              <a:t>Fifth level text</a:t>
            </a:r>
          </a:p>
        </p:txBody>
      </p:sp>
      <p:sp>
        <p:nvSpPr>
          <p:cNvPr id="11" name="Zástupný symbol pro obsah 2"/>
          <p:cNvSpPr>
            <a:spLocks noGrp="1"/>
          </p:cNvSpPr>
          <p:nvPr>
            <p:ph idx="14" hasCustomPrompt="1"/>
          </p:nvPr>
        </p:nvSpPr>
        <p:spPr>
          <a:xfrm>
            <a:off x="7073900" y="1314450"/>
            <a:ext cx="3168650" cy="4032250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en-GB" noProof="0"/>
              <a:t>First level text</a:t>
            </a:r>
          </a:p>
          <a:p>
            <a:pPr lvl="1"/>
            <a:r>
              <a:rPr lang="en-GB" noProof="0"/>
              <a:t>Second level text</a:t>
            </a:r>
          </a:p>
          <a:p>
            <a:pPr lvl="2"/>
            <a:r>
              <a:rPr lang="en-GB" noProof="0"/>
              <a:t>Third level text</a:t>
            </a:r>
          </a:p>
          <a:p>
            <a:pPr lvl="3"/>
            <a:r>
              <a:rPr lang="en-GB" noProof="0"/>
              <a:t>Fourth level text</a:t>
            </a:r>
          </a:p>
          <a:p>
            <a:pPr lvl="4"/>
            <a:r>
              <a:rPr lang="en-GB" noProof="0"/>
              <a:t>Fifth level text</a:t>
            </a:r>
          </a:p>
        </p:txBody>
      </p:sp>
    </p:spTree>
    <p:extLst>
      <p:ext uri="{BB962C8B-B14F-4D97-AF65-F5344CB8AC3E}">
        <p14:creationId xmlns:p14="http://schemas.microsoft.com/office/powerpoint/2010/main" val="2310517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en-GB" noProof="0"/>
              <a:t>SXX | Date | Presentation Title | Department | Name</a:t>
            </a:r>
          </a:p>
        </p:txBody>
      </p:sp>
      <p:sp>
        <p:nvSpPr>
          <p:cNvPr id="9" name="Zástupný symbol pro text 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1314450"/>
            <a:ext cx="3168650" cy="4032250"/>
          </a:xfrm>
        </p:spPr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en-GB" noProof="0"/>
              <a:t>First level text</a:t>
            </a:r>
          </a:p>
          <a:p>
            <a:pPr lvl="1"/>
            <a:r>
              <a:rPr lang="en-GB" noProof="0"/>
              <a:t>Second level text</a:t>
            </a:r>
          </a:p>
          <a:p>
            <a:pPr lvl="2"/>
            <a:r>
              <a:rPr lang="en-GB" noProof="0"/>
              <a:t>Third level text</a:t>
            </a:r>
          </a:p>
          <a:p>
            <a:pPr lvl="3"/>
            <a:r>
              <a:rPr lang="en-GB" noProof="0"/>
              <a:t>Fourth level text</a:t>
            </a:r>
          </a:p>
          <a:p>
            <a:pPr lvl="4"/>
            <a:r>
              <a:rPr lang="en-GB" noProof="0"/>
              <a:t>Fifth level text</a:t>
            </a:r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3762375" y="1314450"/>
            <a:ext cx="6480175" cy="4032250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en-GB" noProof="0"/>
              <a:t>Picture</a:t>
            </a:r>
          </a:p>
        </p:txBody>
      </p:sp>
      <p:sp>
        <p:nvSpPr>
          <p:cNvPr id="15" name="Zástupný symbol pro text 28"/>
          <p:cNvSpPr>
            <a:spLocks noGrp="1"/>
          </p:cNvSpPr>
          <p:nvPr>
            <p:ph type="body" sz="quarter" idx="14" hasCustomPrompt="1"/>
          </p:nvPr>
        </p:nvSpPr>
        <p:spPr>
          <a:xfrm>
            <a:off x="449263" y="648000"/>
            <a:ext cx="9793287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en-GB" noProof="0"/>
              <a:t>Subheading</a:t>
            </a:r>
          </a:p>
        </p:txBody>
      </p:sp>
      <p:sp>
        <p:nvSpPr>
          <p:cNvPr id="4" name="Nadpis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Headline Text (Page Message)</a:t>
            </a:r>
          </a:p>
        </p:txBody>
      </p:sp>
    </p:spTree>
    <p:extLst>
      <p:ext uri="{BB962C8B-B14F-4D97-AF65-F5344CB8AC3E}">
        <p14:creationId xmlns:p14="http://schemas.microsoft.com/office/powerpoint/2010/main" val="1907915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en-GB" noProof="0"/>
              <a:t>SXX | Date | Presentation Title | Department | Name</a:t>
            </a:r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449263" y="1314450"/>
            <a:ext cx="9793288" cy="4032250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en-GB" noProof="0"/>
              <a:t>Picture</a:t>
            </a:r>
          </a:p>
        </p:txBody>
      </p:sp>
      <p:sp>
        <p:nvSpPr>
          <p:cNvPr id="13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648000"/>
            <a:ext cx="9793287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en-GB" noProof="0"/>
              <a:t>Subheading</a:t>
            </a:r>
          </a:p>
        </p:txBody>
      </p:sp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noProof="0"/>
              <a:t>Headline Text (Page Message)</a:t>
            </a:r>
          </a:p>
        </p:txBody>
      </p:sp>
    </p:spTree>
    <p:extLst>
      <p:ext uri="{BB962C8B-B14F-4D97-AF65-F5344CB8AC3E}">
        <p14:creationId xmlns:p14="http://schemas.microsoft.com/office/powerpoint/2010/main" val="541060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2" y="0"/>
            <a:ext cx="10691813" cy="5346700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en-GB" noProof="0"/>
              <a:t>Picture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en-GB" noProof="0"/>
              <a:t>SXX | Date | Presentation Title | Department | Name</a:t>
            </a:r>
          </a:p>
        </p:txBody>
      </p:sp>
    </p:spTree>
    <p:extLst>
      <p:ext uri="{BB962C8B-B14F-4D97-AF65-F5344CB8AC3E}">
        <p14:creationId xmlns:p14="http://schemas.microsoft.com/office/powerpoint/2010/main" val="3366672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tli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SXX | Date | Presentation Title | Department | Name</a:t>
            </a:r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449979" y="1314450"/>
            <a:ext cx="4823696" cy="1691100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Picture</a:t>
            </a:r>
          </a:p>
        </p:txBody>
      </p:sp>
      <p:sp>
        <p:nvSpPr>
          <p:cNvPr id="13" name="Zástupný symbol pro text 12"/>
          <p:cNvSpPr>
            <a:spLocks noGrp="1"/>
          </p:cNvSpPr>
          <p:nvPr>
            <p:ph type="body" sz="quarter" idx="14" hasCustomPrompt="1"/>
          </p:nvPr>
        </p:nvSpPr>
        <p:spPr>
          <a:xfrm>
            <a:off x="449979" y="3077550"/>
            <a:ext cx="4823696" cy="180000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/>
              <a:t>Caption</a:t>
            </a:r>
          </a:p>
        </p:txBody>
      </p:sp>
      <p:sp>
        <p:nvSpPr>
          <p:cNvPr id="14" name="Zástupný symbol pro obrázek 10"/>
          <p:cNvSpPr>
            <a:spLocks noGrp="1"/>
          </p:cNvSpPr>
          <p:nvPr>
            <p:ph type="pic" sz="quarter" idx="15" hasCustomPrompt="1"/>
          </p:nvPr>
        </p:nvSpPr>
        <p:spPr>
          <a:xfrm>
            <a:off x="449263" y="3402900"/>
            <a:ext cx="4823696" cy="1691100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Picture</a:t>
            </a:r>
          </a:p>
        </p:txBody>
      </p:sp>
      <p:sp>
        <p:nvSpPr>
          <p:cNvPr id="15" name="Zástupný symbol pro text 12"/>
          <p:cNvSpPr>
            <a:spLocks noGrp="1"/>
          </p:cNvSpPr>
          <p:nvPr>
            <p:ph type="body" sz="quarter" idx="16" hasCustomPrompt="1"/>
          </p:nvPr>
        </p:nvSpPr>
        <p:spPr>
          <a:xfrm>
            <a:off x="449263" y="5166000"/>
            <a:ext cx="4823696" cy="180000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/>
              <a:t>Caption</a:t>
            </a:r>
          </a:p>
        </p:txBody>
      </p:sp>
      <p:sp>
        <p:nvSpPr>
          <p:cNvPr id="16" name="Zástupný symbol pro obrázek 10"/>
          <p:cNvSpPr>
            <a:spLocks noGrp="1"/>
          </p:cNvSpPr>
          <p:nvPr>
            <p:ph type="pic" sz="quarter" idx="17" hasCustomPrompt="1"/>
          </p:nvPr>
        </p:nvSpPr>
        <p:spPr>
          <a:xfrm>
            <a:off x="5419570" y="1314450"/>
            <a:ext cx="4823696" cy="1691100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Picture</a:t>
            </a:r>
          </a:p>
        </p:txBody>
      </p:sp>
      <p:sp>
        <p:nvSpPr>
          <p:cNvPr id="17" name="Zástupný symbol pro text 12"/>
          <p:cNvSpPr>
            <a:spLocks noGrp="1"/>
          </p:cNvSpPr>
          <p:nvPr>
            <p:ph type="body" sz="quarter" idx="18" hasCustomPrompt="1"/>
          </p:nvPr>
        </p:nvSpPr>
        <p:spPr>
          <a:xfrm>
            <a:off x="5419570" y="3077550"/>
            <a:ext cx="4823696" cy="180000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/>
              <a:t>Caption</a:t>
            </a:r>
          </a:p>
        </p:txBody>
      </p:sp>
      <p:sp>
        <p:nvSpPr>
          <p:cNvPr id="18" name="Zástupný symbol pro obrázek 10"/>
          <p:cNvSpPr>
            <a:spLocks noGrp="1"/>
          </p:cNvSpPr>
          <p:nvPr>
            <p:ph type="pic" sz="quarter" idx="19" hasCustomPrompt="1"/>
          </p:nvPr>
        </p:nvSpPr>
        <p:spPr>
          <a:xfrm>
            <a:off x="5418854" y="3402900"/>
            <a:ext cx="4823696" cy="1691100"/>
          </a:xfrm>
        </p:spPr>
        <p:txBody>
          <a:bodyPr/>
          <a:lstStyle>
            <a:lvl1pPr algn="l">
              <a:buFontTx/>
              <a:buNone/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Picture</a:t>
            </a:r>
          </a:p>
        </p:txBody>
      </p:sp>
      <p:sp>
        <p:nvSpPr>
          <p:cNvPr id="19" name="Zástupný symbol pro text 12"/>
          <p:cNvSpPr>
            <a:spLocks noGrp="1"/>
          </p:cNvSpPr>
          <p:nvPr>
            <p:ph type="body" sz="quarter" idx="20" hasCustomPrompt="1"/>
          </p:nvPr>
        </p:nvSpPr>
        <p:spPr>
          <a:xfrm>
            <a:off x="5418854" y="5166000"/>
            <a:ext cx="4823696" cy="180000"/>
          </a:xfrm>
        </p:spPr>
        <p:txBody>
          <a:bodyPr anchor="ctr" anchorCtr="0">
            <a:noAutofit/>
          </a:bodyPr>
          <a:lstStyle>
            <a:lvl1pPr marL="0" indent="0">
              <a:lnSpc>
                <a:spcPct val="100000"/>
              </a:lnSpc>
              <a:buFontTx/>
              <a:buNone/>
              <a:defRPr sz="1200">
                <a:latin typeface="SKODA Next" panose="020B0504020603020204" pitchFamily="34" charset="0"/>
              </a:defRPr>
            </a:lvl1pPr>
          </a:lstStyle>
          <a:p>
            <a:pPr lvl="0"/>
            <a:r>
              <a:rPr lang="cs-CZ" noProof="0"/>
              <a:t>Caption</a:t>
            </a:r>
          </a:p>
        </p:txBody>
      </p:sp>
      <p:sp>
        <p:nvSpPr>
          <p:cNvPr id="24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648000"/>
            <a:ext cx="9793287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/>
              <a:t>Subheading</a:t>
            </a:r>
          </a:p>
        </p:txBody>
      </p:sp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noProof="0"/>
              <a:t>Headline Text (Page Message)</a:t>
            </a:r>
          </a:p>
        </p:txBody>
      </p:sp>
    </p:spTree>
    <p:extLst>
      <p:ext uri="{BB962C8B-B14F-4D97-AF65-F5344CB8AC3E}">
        <p14:creationId xmlns:p14="http://schemas.microsoft.com/office/powerpoint/2010/main" val="1100091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pro číslo snímku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Zástupný symbol pro zápatí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en-US" noProof="0"/>
              <a:t>SXX | Date | Presentation Title | Department | Name</a:t>
            </a:r>
            <a:endParaRPr lang="en-GB" noProof="0"/>
          </a:p>
        </p:txBody>
      </p:sp>
      <p:sp>
        <p:nvSpPr>
          <p:cNvPr id="10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648000"/>
            <a:ext cx="9793288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en-GB" noProof="0" dirty="0"/>
              <a:t>Subheading</a:t>
            </a:r>
          </a:p>
        </p:txBody>
      </p:sp>
      <p:sp>
        <p:nvSpPr>
          <p:cNvPr id="3" name="Nadpis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GB" noProof="0" dirty="0"/>
              <a:t>Next Chapter</a:t>
            </a:r>
          </a:p>
        </p:txBody>
      </p:sp>
    </p:spTree>
    <p:extLst>
      <p:ext uri="{BB962C8B-B14F-4D97-AF65-F5344CB8AC3E}">
        <p14:creationId xmlns:p14="http://schemas.microsoft.com/office/powerpoint/2010/main" val="272200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Emeral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EE04D5E7-7402-1B77-3F07-B7B9A28ED3A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41200" y="5659200"/>
            <a:ext cx="1002857" cy="108000"/>
          </a:xfrm>
          <a:prstGeom prst="rect">
            <a:avLst/>
          </a:prstGeom>
        </p:spPr>
      </p:pic>
      <p:sp>
        <p:nvSpPr>
          <p:cNvPr id="6" name="Zástupný symbol pro číslo snímku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Zástupný symbol pro zápatí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  <a:latin typeface="SKODA Next" panose="020B0504020603020204" pitchFamily="34" charset="0"/>
              </a:defRPr>
            </a:lvl1pPr>
          </a:lstStyle>
          <a:p>
            <a:r>
              <a:rPr lang="en-US"/>
              <a:t>SXX | Date | Presentation Title | Department | Name</a:t>
            </a:r>
            <a:endParaRPr lang="en-GB"/>
          </a:p>
        </p:txBody>
      </p:sp>
      <p:sp>
        <p:nvSpPr>
          <p:cNvPr id="10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648000"/>
            <a:ext cx="9793288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 noProof="0" dirty="0"/>
              <a:t>Subheading</a:t>
            </a:r>
          </a:p>
        </p:txBody>
      </p:sp>
      <p:sp>
        <p:nvSpPr>
          <p:cNvPr id="3" name="Nadpis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accent2"/>
                </a:solidFill>
              </a:defRPr>
            </a:lvl1pPr>
          </a:lstStyle>
          <a:p>
            <a:r>
              <a:rPr lang="en-GB" noProof="0" dirty="0"/>
              <a:t>Next Chapter</a:t>
            </a:r>
          </a:p>
        </p:txBody>
      </p:sp>
    </p:spTree>
    <p:extLst>
      <p:ext uri="{BB962C8B-B14F-4D97-AF65-F5344CB8AC3E}">
        <p14:creationId xmlns:p14="http://schemas.microsoft.com/office/powerpoint/2010/main" val="3527637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Electric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CBC3C684-5239-0E95-9F6B-4AF6E908E5F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39693" y="5660476"/>
            <a:ext cx="1002857" cy="108000"/>
          </a:xfrm>
          <a:prstGeom prst="rect">
            <a:avLst/>
          </a:prstGeom>
        </p:spPr>
      </p:pic>
      <p:sp>
        <p:nvSpPr>
          <p:cNvPr id="6" name="Zástupný symbol pro číslo snímku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Zástupný symbol pro zápatí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en-US"/>
              <a:t>SXX | Date | Presentation Title | Department | Name</a:t>
            </a:r>
            <a:endParaRPr lang="en-GB"/>
          </a:p>
        </p:txBody>
      </p:sp>
      <p:sp>
        <p:nvSpPr>
          <p:cNvPr id="10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648000"/>
            <a:ext cx="9793288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dirty="0"/>
              <a:t>Subheading</a:t>
            </a:r>
          </a:p>
        </p:txBody>
      </p:sp>
      <p:sp>
        <p:nvSpPr>
          <p:cNvPr id="3" name="Nadpis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</a:lstStyle>
          <a:p>
            <a:r>
              <a:rPr lang="en-GB" noProof="0" dirty="0"/>
              <a:t>Next Chapter</a:t>
            </a:r>
          </a:p>
        </p:txBody>
      </p:sp>
    </p:spTree>
    <p:extLst>
      <p:ext uri="{BB962C8B-B14F-4D97-AF65-F5344CB8AC3E}">
        <p14:creationId xmlns:p14="http://schemas.microsoft.com/office/powerpoint/2010/main" val="3891494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4">
            <a:extLst>
              <a:ext uri="{FF2B5EF4-FFF2-40B4-BE49-F238E27FC236}">
                <a16:creationId xmlns:a16="http://schemas.microsoft.com/office/drawing/2014/main" id="{A2985358-9CAA-B6FA-88CF-228B2CA9D80F}"/>
              </a:ext>
            </a:extLst>
          </p:cNvPr>
          <p:cNvSpPr/>
          <p:nvPr userDrawn="1"/>
        </p:nvSpPr>
        <p:spPr>
          <a:xfrm>
            <a:off x="0" y="0"/>
            <a:ext cx="3762375" cy="1009650"/>
          </a:xfrm>
          <a:custGeom>
            <a:avLst/>
            <a:gdLst>
              <a:gd name="connsiteX0" fmla="*/ 0 w 5220000"/>
              <a:gd name="connsiteY0" fmla="*/ 0 h 1404000"/>
              <a:gd name="connsiteX1" fmla="*/ 5220000 w 5220000"/>
              <a:gd name="connsiteY1" fmla="*/ 0 h 1404000"/>
              <a:gd name="connsiteX2" fmla="*/ 5220000 w 5220000"/>
              <a:gd name="connsiteY2" fmla="*/ 1404000 h 1404000"/>
              <a:gd name="connsiteX3" fmla="*/ 0 w 5220000"/>
              <a:gd name="connsiteY3" fmla="*/ 1404000 h 1404000"/>
              <a:gd name="connsiteX4" fmla="*/ 0 w 5220000"/>
              <a:gd name="connsiteY4" fmla="*/ 0 h 1404000"/>
              <a:gd name="connsiteX0" fmla="*/ 0 w 5220000"/>
              <a:gd name="connsiteY0" fmla="*/ 0 h 1404000"/>
              <a:gd name="connsiteX1" fmla="*/ 5220000 w 5220000"/>
              <a:gd name="connsiteY1" fmla="*/ 0 h 1404000"/>
              <a:gd name="connsiteX2" fmla="*/ 5220000 w 5220000"/>
              <a:gd name="connsiteY2" fmla="*/ 1404000 h 1404000"/>
              <a:gd name="connsiteX3" fmla="*/ 0 w 5220000"/>
              <a:gd name="connsiteY3" fmla="*/ 1404000 h 1404000"/>
              <a:gd name="connsiteX4" fmla="*/ 0 w 5220000"/>
              <a:gd name="connsiteY4" fmla="*/ 0 h 1404000"/>
              <a:gd name="connsiteX0" fmla="*/ 0 w 5220000"/>
              <a:gd name="connsiteY0" fmla="*/ 0 h 1404000"/>
              <a:gd name="connsiteX1" fmla="*/ 5220000 w 5220000"/>
              <a:gd name="connsiteY1" fmla="*/ 0 h 1404000"/>
              <a:gd name="connsiteX2" fmla="*/ 0 w 5220000"/>
              <a:gd name="connsiteY2" fmla="*/ 1404000 h 1404000"/>
              <a:gd name="connsiteX3" fmla="*/ 0 w 5220000"/>
              <a:gd name="connsiteY3" fmla="*/ 0 h 140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20000" h="1404000">
                <a:moveTo>
                  <a:pt x="0" y="0"/>
                </a:moveTo>
                <a:lnTo>
                  <a:pt x="5220000" y="0"/>
                </a:lnTo>
                <a:lnTo>
                  <a:pt x="0" y="1404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B7243EA-87C5-1D89-7207-56A4E40BAA96}"/>
              </a:ext>
            </a:extLst>
          </p:cNvPr>
          <p:cNvSpPr/>
          <p:nvPr userDrawn="1"/>
        </p:nvSpPr>
        <p:spPr>
          <a:xfrm>
            <a:off x="5544000" y="0"/>
            <a:ext cx="5148000" cy="6011863"/>
          </a:xfrm>
          <a:custGeom>
            <a:avLst/>
            <a:gdLst>
              <a:gd name="connsiteX0" fmla="*/ 0 w 5148000"/>
              <a:gd name="connsiteY0" fmla="*/ 0 h 6011863"/>
              <a:gd name="connsiteX1" fmla="*/ 5148000 w 5148000"/>
              <a:gd name="connsiteY1" fmla="*/ 0 h 6011863"/>
              <a:gd name="connsiteX2" fmla="*/ 5148000 w 5148000"/>
              <a:gd name="connsiteY2" fmla="*/ 6011863 h 6011863"/>
              <a:gd name="connsiteX3" fmla="*/ 0 w 5148000"/>
              <a:gd name="connsiteY3" fmla="*/ 6011863 h 6011863"/>
              <a:gd name="connsiteX4" fmla="*/ 0 w 5148000"/>
              <a:gd name="connsiteY4" fmla="*/ 0 h 6011863"/>
              <a:gd name="connsiteX0" fmla="*/ 1609725 w 5148000"/>
              <a:gd name="connsiteY0" fmla="*/ 0 h 6011863"/>
              <a:gd name="connsiteX1" fmla="*/ 5148000 w 5148000"/>
              <a:gd name="connsiteY1" fmla="*/ 0 h 6011863"/>
              <a:gd name="connsiteX2" fmla="*/ 5148000 w 5148000"/>
              <a:gd name="connsiteY2" fmla="*/ 6011863 h 6011863"/>
              <a:gd name="connsiteX3" fmla="*/ 0 w 5148000"/>
              <a:gd name="connsiteY3" fmla="*/ 6011863 h 6011863"/>
              <a:gd name="connsiteX4" fmla="*/ 1609725 w 5148000"/>
              <a:gd name="connsiteY4" fmla="*/ 0 h 6011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48000" h="6011863">
                <a:moveTo>
                  <a:pt x="1609725" y="0"/>
                </a:moveTo>
                <a:lnTo>
                  <a:pt x="5148000" y="0"/>
                </a:lnTo>
                <a:lnTo>
                  <a:pt x="5148000" y="6011863"/>
                </a:lnTo>
                <a:lnTo>
                  <a:pt x="0" y="6011863"/>
                </a:lnTo>
                <a:lnTo>
                  <a:pt x="1609725" y="0"/>
                </a:lnTo>
                <a:close/>
              </a:path>
            </a:pathLst>
          </a:cu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4BD390AB-1E56-E27C-3435-30045855478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41200" y="5659200"/>
            <a:ext cx="1002857" cy="108000"/>
          </a:xfrm>
          <a:prstGeom prst="rect">
            <a:avLst/>
          </a:prstGeom>
        </p:spPr>
      </p:pic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0" y="1264"/>
          <a:ext cx="1587" cy="12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9" imgH="398" progId="TCLayout.ActiveDocument.1">
                  <p:embed/>
                </p:oleObj>
              </mc:Choice>
              <mc:Fallback>
                <p:oleObj name="think-cell Slide" r:id="rId5" imgW="399" imgH="398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264"/>
                        <a:ext cx="1587" cy="12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Nadpis 6"/>
          <p:cNvSpPr>
            <a:spLocks noGrp="1"/>
          </p:cNvSpPr>
          <p:nvPr userDrawn="1">
            <p:ph type="title" hasCustomPrompt="1"/>
          </p:nvPr>
        </p:nvSpPr>
        <p:spPr>
          <a:xfrm>
            <a:off x="449263" y="1314450"/>
            <a:ext cx="5256000" cy="4031550"/>
          </a:xfrm>
        </p:spPr>
        <p:txBody>
          <a:bodyPr anchor="t" anchorCtr="0">
            <a:noAutofit/>
          </a:bodyPr>
          <a:lstStyle>
            <a:lvl1pPr>
              <a:lnSpc>
                <a:spcPts val="6000"/>
              </a:lnSpc>
              <a:defRPr sz="6000" b="0" cap="none" baseline="0">
                <a:solidFill>
                  <a:schemeClr val="accent1"/>
                </a:solidFill>
                <a:latin typeface="SKODA Next Light" panose="020B0304020603020204" pitchFamily="34" charset="0"/>
              </a:defRPr>
            </a:lvl1pPr>
          </a:lstStyle>
          <a:p>
            <a:r>
              <a:rPr lang="cs-CZ" noProof="0"/>
              <a:t>Děkuji</a:t>
            </a:r>
            <a:endParaRPr lang="cs-CZ" noProof="0" dirty="0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BD0962D-1E63-FEDE-6F59-D9BA7276969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434788" y="1314450"/>
            <a:ext cx="1152000" cy="1548000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chemeClr val="accent2"/>
                </a:solidFill>
              </a:defRPr>
            </a:lvl1pPr>
          </a:lstStyle>
          <a:p>
            <a:r>
              <a:rPr lang="cs-CZ"/>
              <a:t>Obrázek</a:t>
            </a:r>
            <a:endParaRPr lang="cs-CZ" dirty="0"/>
          </a:p>
        </p:txBody>
      </p:sp>
      <p:sp>
        <p:nvSpPr>
          <p:cNvPr id="18" name="Picture Placeholder 16">
            <a:extLst>
              <a:ext uri="{FF2B5EF4-FFF2-40B4-BE49-F238E27FC236}">
                <a16:creationId xmlns:a16="http://schemas.microsoft.com/office/drawing/2014/main" id="{A153B96D-10A9-DB89-FDE8-61ADD55197E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090550" y="1314450"/>
            <a:ext cx="1152000" cy="1548000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chemeClr val="accent2"/>
                </a:solidFill>
              </a:defRPr>
            </a:lvl1pPr>
          </a:lstStyle>
          <a:p>
            <a:r>
              <a:rPr lang="cs-CZ"/>
              <a:t>Obrázek</a:t>
            </a:r>
            <a:endParaRPr lang="cs-CZ" dirty="0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EE0344C5-D699-2FB3-554F-5651999873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434787" y="2970000"/>
            <a:ext cx="1152001" cy="14400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9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cs-CZ" noProof="1"/>
              <a:t>Jméno Příjmení</a:t>
            </a:r>
          </a:p>
        </p:txBody>
      </p:sp>
      <p:sp>
        <p:nvSpPr>
          <p:cNvPr id="21" name="Text Placeholder 19">
            <a:extLst>
              <a:ext uri="{FF2B5EF4-FFF2-40B4-BE49-F238E27FC236}">
                <a16:creationId xmlns:a16="http://schemas.microsoft.com/office/drawing/2014/main" id="{2EF5C1AF-6DA5-ED65-5351-59EBC96FD06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34786" y="3112875"/>
            <a:ext cx="1152001" cy="14400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900">
                <a:solidFill>
                  <a:schemeClr val="accent2"/>
                </a:solidFill>
              </a:defRPr>
            </a:lvl1pPr>
          </a:lstStyle>
          <a:p>
            <a:pPr lvl="0"/>
            <a:r>
              <a:rPr lang="cs-CZ" noProof="1"/>
              <a:t>Pozice</a:t>
            </a:r>
          </a:p>
        </p:txBody>
      </p:sp>
      <p:sp>
        <p:nvSpPr>
          <p:cNvPr id="22" name="Text Placeholder 19">
            <a:extLst>
              <a:ext uri="{FF2B5EF4-FFF2-40B4-BE49-F238E27FC236}">
                <a16:creationId xmlns:a16="http://schemas.microsoft.com/office/drawing/2014/main" id="{92F09B2E-02DD-B1B0-D4FE-7743F865D39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088456" y="2970000"/>
            <a:ext cx="1152001" cy="14400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9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cs-CZ" noProof="1"/>
              <a:t>Jméno Příjmení</a:t>
            </a:r>
          </a:p>
        </p:txBody>
      </p:sp>
      <p:sp>
        <p:nvSpPr>
          <p:cNvPr id="23" name="Text Placeholder 19">
            <a:extLst>
              <a:ext uri="{FF2B5EF4-FFF2-40B4-BE49-F238E27FC236}">
                <a16:creationId xmlns:a16="http://schemas.microsoft.com/office/drawing/2014/main" id="{49B1DC85-4192-09B6-D800-266CEE24849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88455" y="3112875"/>
            <a:ext cx="1152001" cy="14400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900">
                <a:solidFill>
                  <a:schemeClr val="accent2"/>
                </a:solidFill>
              </a:defRPr>
            </a:lvl1pPr>
          </a:lstStyle>
          <a:p>
            <a:pPr lvl="0"/>
            <a:r>
              <a:rPr lang="cs-CZ" noProof="1"/>
              <a:t>Pozice</a:t>
            </a:r>
          </a:p>
        </p:txBody>
      </p:sp>
      <p:sp>
        <p:nvSpPr>
          <p:cNvPr id="24" name="Text Placeholder 19">
            <a:extLst>
              <a:ext uri="{FF2B5EF4-FFF2-40B4-BE49-F238E27FC236}">
                <a16:creationId xmlns:a16="http://schemas.microsoft.com/office/drawing/2014/main" id="{ABE8CAFB-0160-0A8F-FB22-C93DDF69CC6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56000" y="4464000"/>
            <a:ext cx="4086000" cy="882000"/>
          </a:xfr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buNone/>
              <a:defRPr sz="1400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cs-CZ" noProof="1"/>
              <a:t>tř. Václava Klementa 869 Mladá Boleslav II</a:t>
            </a:r>
            <a:br>
              <a:rPr lang="cs-CZ" noProof="1"/>
            </a:br>
            <a:r>
              <a:rPr lang="cs-CZ" noProof="1"/>
              <a:t>293 01 Czech Republic</a:t>
            </a:r>
          </a:p>
        </p:txBody>
      </p:sp>
      <p:sp>
        <p:nvSpPr>
          <p:cNvPr id="25" name="Text Placeholder 19">
            <a:extLst>
              <a:ext uri="{FF2B5EF4-FFF2-40B4-BE49-F238E27FC236}">
                <a16:creationId xmlns:a16="http://schemas.microsoft.com/office/drawing/2014/main" id="{A98C13C5-D07A-AACD-353F-E0DD8400F3D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56550" y="4266000"/>
            <a:ext cx="4086000" cy="198000"/>
          </a:xfr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buNone/>
              <a:defRPr sz="14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cs-CZ" noProof="1"/>
              <a:t>Škoda Auto a.s.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36566C6-F354-0ABD-6A11-3BE97825439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846000" y="5598000"/>
            <a:ext cx="4698000" cy="180000"/>
          </a:xfrm>
        </p:spPr>
        <p:txBody>
          <a:bodyPr>
            <a:norm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cs-CZ"/>
              <a:t>| 08.11. 2023 | Odborná praxe | GQD-1 | Ondřej Hlaváček</a:t>
            </a:r>
            <a:endParaRPr lang="cs-CZ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D216088-5F02-69F6-F3F3-D16FE1E30EFB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E956721-BB38-4972-8ACD-5A2C9377E3B4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626126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Gre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Zástupný symbol pro číslo snímku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Zástupný symbol pro zápatí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latin typeface="SKODA Next" panose="020B0504020603020204" pitchFamily="34" charset="0"/>
              </a:defRPr>
            </a:lvl1pPr>
          </a:lstStyle>
          <a:p>
            <a:r>
              <a:rPr lang="en-US" noProof="0"/>
              <a:t>SXX | Date | Presentation Title | Department | Name</a:t>
            </a:r>
            <a:endParaRPr lang="en-GB" noProof="0"/>
          </a:p>
        </p:txBody>
      </p:sp>
      <p:sp>
        <p:nvSpPr>
          <p:cNvPr id="10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648000"/>
            <a:ext cx="9793288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en-GB" noProof="0" dirty="0"/>
              <a:t>Subheading</a:t>
            </a:r>
          </a:p>
        </p:txBody>
      </p:sp>
      <p:sp>
        <p:nvSpPr>
          <p:cNvPr id="3" name="Nadpis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GB" noProof="0" dirty="0"/>
              <a:t>Next Chapter</a:t>
            </a:r>
          </a:p>
        </p:txBody>
      </p:sp>
    </p:spTree>
    <p:extLst>
      <p:ext uri="{BB962C8B-B14F-4D97-AF65-F5344CB8AC3E}">
        <p14:creationId xmlns:p14="http://schemas.microsoft.com/office/powerpoint/2010/main" val="4057240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ur Tite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3" y="824858"/>
            <a:ext cx="9793288" cy="360000"/>
          </a:xfrm>
        </p:spPr>
        <p:txBody>
          <a:bodyPr lIns="90000" tIns="46800" rIns="90000" bIns="46800" anchor="t">
            <a:noAutofit/>
          </a:bodyPr>
          <a:lstStyle>
            <a:lvl1pPr marL="0" indent="0">
              <a:lnSpc>
                <a:spcPct val="100000"/>
              </a:lnSpc>
              <a:buNone/>
              <a:defRPr sz="16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Subheading</a:t>
            </a:r>
          </a:p>
        </p:txBody>
      </p:sp>
      <p:sp>
        <p:nvSpPr>
          <p:cNvPr id="3" name="Nadpis 2"/>
          <p:cNvSpPr>
            <a:spLocks noGrp="1"/>
          </p:cNvSpPr>
          <p:nvPr>
            <p:ph type="title" hasCustomPrompt="1"/>
          </p:nvPr>
        </p:nvSpPr>
        <p:spPr>
          <a:xfrm>
            <a:off x="449263" y="395381"/>
            <a:ext cx="9793287" cy="360000"/>
          </a:xfrm>
        </p:spPr>
        <p:txBody>
          <a:bodyPr lIns="90000" tIns="46800" rIns="90000" bIns="46800" anchor="t"/>
          <a:lstStyle>
            <a:lvl1pPr>
              <a:lnSpc>
                <a:spcPct val="100000"/>
              </a:lnSpc>
              <a:defRPr sz="2000" baseline="0">
                <a:solidFill>
                  <a:schemeClr val="accent2"/>
                </a:solidFill>
              </a:defRPr>
            </a:lvl1pPr>
          </a:lstStyle>
          <a:p>
            <a:r>
              <a:rPr lang="en-GB" noProof="0" dirty="0"/>
              <a:t>Headline Text (Page Message)</a:t>
            </a:r>
          </a:p>
        </p:txBody>
      </p:sp>
      <p:pic>
        <p:nvPicPr>
          <p:cNvPr id="26" name="Graphic 25">
            <a:extLst>
              <a:ext uri="{FF2B5EF4-FFF2-40B4-BE49-F238E27FC236}">
                <a16:creationId xmlns:a16="http://schemas.microsoft.com/office/drawing/2014/main" id="{71EA4EB8-7223-0F49-96FF-37724E669E1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39693" y="5659592"/>
            <a:ext cx="1002857" cy="108000"/>
          </a:xfrm>
          <a:prstGeom prst="rect">
            <a:avLst/>
          </a:prstGeom>
        </p:spPr>
      </p:pic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4F85CFB5-DE89-4547-ADBD-AF6742EE2F82}"/>
              </a:ext>
            </a:extLst>
          </p:cNvPr>
          <p:cNvCxnSpPr>
            <a:cxnSpLocks/>
          </p:cNvCxnSpPr>
          <p:nvPr userDrawn="1"/>
        </p:nvCxnSpPr>
        <p:spPr>
          <a:xfrm flipV="1">
            <a:off x="3557847" y="5187006"/>
            <a:ext cx="7133966" cy="824857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E9CE6F18-5EB4-4D4D-830F-070648AF2436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0" y="5499751"/>
            <a:ext cx="1662545" cy="512112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40951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2BC73856-9920-FB4D-1FA1-5AD01A9B1773}"/>
              </a:ext>
            </a:extLst>
          </p:cNvPr>
          <p:cNvSpPr/>
          <p:nvPr userDrawn="1"/>
        </p:nvSpPr>
        <p:spPr>
          <a:xfrm>
            <a:off x="3852000" y="0"/>
            <a:ext cx="6840000" cy="6011863"/>
          </a:xfrm>
          <a:custGeom>
            <a:avLst/>
            <a:gdLst>
              <a:gd name="connsiteX0" fmla="*/ 0 w 6840000"/>
              <a:gd name="connsiteY0" fmla="*/ 0 h 6011863"/>
              <a:gd name="connsiteX1" fmla="*/ 6840000 w 6840000"/>
              <a:gd name="connsiteY1" fmla="*/ 0 h 6011863"/>
              <a:gd name="connsiteX2" fmla="*/ 6840000 w 6840000"/>
              <a:gd name="connsiteY2" fmla="*/ 6011863 h 6011863"/>
              <a:gd name="connsiteX3" fmla="*/ 0 w 6840000"/>
              <a:gd name="connsiteY3" fmla="*/ 6011863 h 6011863"/>
              <a:gd name="connsiteX4" fmla="*/ 0 w 6840000"/>
              <a:gd name="connsiteY4" fmla="*/ 0 h 6011863"/>
              <a:gd name="connsiteX0" fmla="*/ 1602582 w 6840000"/>
              <a:gd name="connsiteY0" fmla="*/ 0 h 6011863"/>
              <a:gd name="connsiteX1" fmla="*/ 6840000 w 6840000"/>
              <a:gd name="connsiteY1" fmla="*/ 0 h 6011863"/>
              <a:gd name="connsiteX2" fmla="*/ 6840000 w 6840000"/>
              <a:gd name="connsiteY2" fmla="*/ 6011863 h 6011863"/>
              <a:gd name="connsiteX3" fmla="*/ 0 w 6840000"/>
              <a:gd name="connsiteY3" fmla="*/ 6011863 h 6011863"/>
              <a:gd name="connsiteX4" fmla="*/ 1602582 w 6840000"/>
              <a:gd name="connsiteY4" fmla="*/ 0 h 6011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40000" h="6011863">
                <a:moveTo>
                  <a:pt x="1602582" y="0"/>
                </a:moveTo>
                <a:lnTo>
                  <a:pt x="6840000" y="0"/>
                </a:lnTo>
                <a:lnTo>
                  <a:pt x="6840000" y="6011863"/>
                </a:lnTo>
                <a:lnTo>
                  <a:pt x="0" y="6011863"/>
                </a:lnTo>
                <a:lnTo>
                  <a:pt x="1602582" y="0"/>
                </a:lnTo>
                <a:close/>
              </a:path>
            </a:pathLst>
          </a:cu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 dirty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| 08.11. 2023 | Odborná praxe | GQD-1 | Ondřej Hlaváček</a:t>
            </a:r>
            <a:endParaRPr lang="cs-CZ" noProof="0" dirty="0"/>
          </a:p>
        </p:txBody>
      </p:sp>
      <p:sp>
        <p:nvSpPr>
          <p:cNvPr id="29" name="Zástupný symbol pro text 28"/>
          <p:cNvSpPr>
            <a:spLocks noGrp="1"/>
          </p:cNvSpPr>
          <p:nvPr>
            <p:ph type="body" sz="quarter" idx="12" hasCustomPrompt="1"/>
          </p:nvPr>
        </p:nvSpPr>
        <p:spPr>
          <a:xfrm>
            <a:off x="449264" y="648000"/>
            <a:ext cx="4680000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/>
              <a:t>Podnadpis</a:t>
            </a:r>
            <a:endParaRPr lang="cs-CZ" noProof="0" dirty="0"/>
          </a:p>
        </p:txBody>
      </p:sp>
      <p:sp>
        <p:nvSpPr>
          <p:cNvPr id="30" name="Nadpis 29"/>
          <p:cNvSpPr>
            <a:spLocks noGrp="1"/>
          </p:cNvSpPr>
          <p:nvPr>
            <p:ph type="title" hasCustomPrompt="1"/>
          </p:nvPr>
        </p:nvSpPr>
        <p:spPr>
          <a:xfrm>
            <a:off x="449264" y="269875"/>
            <a:ext cx="4680000" cy="360000"/>
          </a:xfrm>
        </p:spPr>
        <p:txBody>
          <a:bodyPr/>
          <a:lstStyle>
            <a:lvl1pPr>
              <a:defRPr/>
            </a:lvl1pPr>
          </a:lstStyle>
          <a:p>
            <a:r>
              <a:rPr lang="cs-CZ" noProof="0"/>
              <a:t>Nadpis (shrnutí stránky)</a:t>
            </a:r>
            <a:endParaRPr lang="cs-CZ" noProof="0" dirty="0"/>
          </a:p>
        </p:txBody>
      </p:sp>
      <p:sp>
        <p:nvSpPr>
          <p:cNvPr id="10" name="Zástupný symbol pro obsah 2"/>
          <p:cNvSpPr>
            <a:spLocks noGrp="1"/>
          </p:cNvSpPr>
          <p:nvPr>
            <p:ph idx="13" hasCustomPrompt="1"/>
          </p:nvPr>
        </p:nvSpPr>
        <p:spPr>
          <a:xfrm>
            <a:off x="5418138" y="269875"/>
            <a:ext cx="4824412" cy="3528125"/>
          </a:xfrm>
        </p:spPr>
        <p:txBody>
          <a:bodyPr anchor="b" anchorCtr="0">
            <a:normAutofit/>
          </a:bodyPr>
          <a:lstStyle>
            <a:lvl1pPr marL="0" indent="0" algn="ctr">
              <a:lnSpc>
                <a:spcPts val="13200"/>
              </a:lnSpc>
              <a:buNone/>
              <a:defRPr sz="13200" baseline="0">
                <a:solidFill>
                  <a:schemeClr val="accent2"/>
                </a:solidFill>
                <a:latin typeface="SKODA Next Light" panose="020B0304020603020204" pitchFamily="34" charset="0"/>
              </a:defRPr>
            </a:lvl1pPr>
            <a:lvl2pPr marL="180000" indent="0">
              <a:buNone/>
              <a:defRPr>
                <a:latin typeface="SKODA Next" panose="020B0504020603020204" pitchFamily="34" charset="0"/>
              </a:defRPr>
            </a:lvl2pPr>
            <a:lvl3pPr marL="360000" indent="0">
              <a:buNone/>
              <a:defRPr>
                <a:latin typeface="SKODA Next" panose="020B0504020603020204" pitchFamily="34" charset="0"/>
              </a:defRPr>
            </a:lvl3pPr>
            <a:lvl4pPr marL="540000" indent="0">
              <a:buNone/>
              <a:defRPr>
                <a:latin typeface="SKODA Next" panose="020B0504020603020204" pitchFamily="34" charset="0"/>
              </a:defRPr>
            </a:lvl4pPr>
            <a:lvl5pPr marL="720000" indent="0">
              <a:buNone/>
              <a:defRPr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1"/>
              <a:t>Číslo</a:t>
            </a:r>
          </a:p>
        </p:txBody>
      </p:sp>
      <p:sp>
        <p:nvSpPr>
          <p:cNvPr id="5" name="Zástupný symbol pro obsah 2">
            <a:extLst>
              <a:ext uri="{FF2B5EF4-FFF2-40B4-BE49-F238E27FC236}">
                <a16:creationId xmlns:a16="http://schemas.microsoft.com/office/drawing/2014/main" id="{3471EC78-B29A-0B43-3BBF-4728093475C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49264" y="1314450"/>
            <a:ext cx="3456000" cy="4032250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  <a:lvl6pPr marL="900000" indent="0">
              <a:buNone/>
              <a:defRPr/>
            </a:lvl6pPr>
            <a:lvl7pPr marL="1080000" indent="0">
              <a:buNone/>
              <a:defRPr/>
            </a:lvl7pPr>
            <a:lvl8pPr marL="1260000" indent="0">
              <a:buNone/>
              <a:defRPr/>
            </a:lvl8pPr>
            <a:lvl9pPr marL="1440000" indent="0">
              <a:buNone/>
              <a:defRPr/>
            </a:lvl9pPr>
          </a:lstStyle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6E6BFB5C-32B5-D05C-0882-76BFAB25CDA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41200" y="5659200"/>
            <a:ext cx="1002857" cy="108000"/>
          </a:xfrm>
          <a:prstGeom prst="rect">
            <a:avLst/>
          </a:prstGeom>
        </p:spPr>
      </p:pic>
      <p:sp>
        <p:nvSpPr>
          <p:cNvPr id="13" name="Zástupný symbol pro text 8">
            <a:extLst>
              <a:ext uri="{FF2B5EF4-FFF2-40B4-BE49-F238E27FC236}">
                <a16:creationId xmlns:a16="http://schemas.microsoft.com/office/drawing/2014/main" id="{2B865885-2219-05BC-D8B6-4695396A63F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18139" y="3798001"/>
            <a:ext cx="4824412" cy="2880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accent2"/>
                </a:solidFill>
                <a:latin typeface="SKODA Next" panose="020B0504020603020204" pitchFamily="34" charset="0"/>
              </a:defRPr>
            </a:lvl1pPr>
            <a:lvl2pPr marL="180000" indent="0">
              <a:buNone/>
              <a:defRPr>
                <a:solidFill>
                  <a:schemeClr val="accent2"/>
                </a:solidFill>
                <a:latin typeface="SKODA Next" panose="020B0504020603020204" pitchFamily="34" charset="0"/>
              </a:defRPr>
            </a:lvl2pPr>
            <a:lvl3pPr marL="360000" indent="0">
              <a:buNone/>
              <a:defRPr>
                <a:solidFill>
                  <a:schemeClr val="accent2"/>
                </a:solidFill>
                <a:latin typeface="SKODA Next" panose="020B0504020603020204" pitchFamily="34" charset="0"/>
              </a:defRPr>
            </a:lvl3pPr>
            <a:lvl4pPr marL="540000" indent="0">
              <a:buNone/>
              <a:defRPr>
                <a:solidFill>
                  <a:schemeClr val="accent2"/>
                </a:solidFill>
                <a:latin typeface="SKODA Next" panose="020B0504020603020204" pitchFamily="34" charset="0"/>
              </a:defRPr>
            </a:lvl4pPr>
            <a:lvl5pPr marL="720000" indent="0">
              <a:buNone/>
              <a:defRPr>
                <a:solidFill>
                  <a:schemeClr val="accent2"/>
                </a:solidFill>
                <a:latin typeface="SKODA Next" panose="020B0504020603020204" pitchFamily="34" charset="0"/>
              </a:defRPr>
            </a:lvl5pPr>
          </a:lstStyle>
          <a:p>
            <a:pPr lvl="0"/>
            <a:r>
              <a:rPr lang="cs-CZ" noProof="0" dirty="0"/>
              <a:t>Detail čísla</a:t>
            </a:r>
          </a:p>
        </p:txBody>
      </p:sp>
      <p:sp>
        <p:nvSpPr>
          <p:cNvPr id="14" name="Zástupný symbol pro obrázek 10">
            <a:extLst>
              <a:ext uri="{FF2B5EF4-FFF2-40B4-BE49-F238E27FC236}">
                <a16:creationId xmlns:a16="http://schemas.microsoft.com/office/drawing/2014/main" id="{86DAE072-2452-AB7D-161C-6E9AB85BBE6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398345" y="4302000"/>
            <a:ext cx="864000" cy="432000"/>
          </a:xfrm>
        </p:spPr>
        <p:txBody>
          <a:bodyPr/>
          <a:lstStyle>
            <a:lvl1pPr algn="ctr">
              <a:buFontTx/>
              <a:buNone/>
              <a:defRPr>
                <a:solidFill>
                  <a:schemeClr val="accent2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Obr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4124441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B6C15D4D-B0E1-E0BD-A36D-4EB0521FEB47}"/>
              </a:ext>
            </a:extLst>
          </p:cNvPr>
          <p:cNvSpPr/>
          <p:nvPr userDrawn="1"/>
        </p:nvSpPr>
        <p:spPr>
          <a:xfrm>
            <a:off x="5418138" y="0"/>
            <a:ext cx="5273675" cy="601186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noProof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| 08.11. 2023 | Odborná praxe | GQD-1 | Ondřej Hlaváček</a:t>
            </a:r>
          </a:p>
        </p:txBody>
      </p:sp>
      <p:sp>
        <p:nvSpPr>
          <p:cNvPr id="11" name="Zástupný symbol pro obrázek 10"/>
          <p:cNvSpPr>
            <a:spLocks noGrp="1"/>
          </p:cNvSpPr>
          <p:nvPr>
            <p:ph type="pic" sz="quarter" idx="13" hasCustomPrompt="1"/>
          </p:nvPr>
        </p:nvSpPr>
        <p:spPr>
          <a:xfrm>
            <a:off x="6929438" y="1314450"/>
            <a:ext cx="2250375" cy="3060000"/>
          </a:xfrm>
        </p:spPr>
        <p:txBody>
          <a:bodyPr/>
          <a:lstStyle>
            <a:lvl1pPr algn="ctr">
              <a:buFontTx/>
              <a:buNone/>
              <a:defRPr>
                <a:solidFill>
                  <a:schemeClr val="accent2"/>
                </a:solidFill>
                <a:latin typeface="SKODA Next" panose="020B0504020603020204" pitchFamily="34" charset="0"/>
              </a:defRPr>
            </a:lvl1pPr>
          </a:lstStyle>
          <a:p>
            <a:r>
              <a:rPr lang="cs-CZ" noProof="0"/>
              <a:t>Obrázek</a:t>
            </a:r>
          </a:p>
        </p:txBody>
      </p:sp>
      <p:sp>
        <p:nvSpPr>
          <p:cNvPr id="15" name="Zástupný symbol pro text 28"/>
          <p:cNvSpPr>
            <a:spLocks noGrp="1"/>
          </p:cNvSpPr>
          <p:nvPr>
            <p:ph type="body" sz="quarter" idx="14" hasCustomPrompt="1"/>
          </p:nvPr>
        </p:nvSpPr>
        <p:spPr>
          <a:xfrm>
            <a:off x="449264" y="648000"/>
            <a:ext cx="4824412" cy="360000"/>
          </a:xfrm>
        </p:spPr>
        <p:txBody>
          <a:bodyPr>
            <a:noAutofit/>
          </a:bodyPr>
          <a:lstStyle>
            <a:lvl1pPr marL="0" indent="0">
              <a:lnSpc>
                <a:spcPts val="2400"/>
              </a:lnSpc>
              <a:buNone/>
              <a:defRPr sz="2000" baseline="0"/>
            </a:lvl1pPr>
          </a:lstStyle>
          <a:p>
            <a:pPr lvl="0"/>
            <a:r>
              <a:rPr lang="cs-CZ" noProof="0"/>
              <a:t>Podnadpis</a:t>
            </a:r>
          </a:p>
        </p:txBody>
      </p:sp>
      <p:sp>
        <p:nvSpPr>
          <p:cNvPr id="4" name="Nadpis 3"/>
          <p:cNvSpPr>
            <a:spLocks noGrp="1"/>
          </p:cNvSpPr>
          <p:nvPr>
            <p:ph type="title" hasCustomPrompt="1"/>
          </p:nvPr>
        </p:nvSpPr>
        <p:spPr>
          <a:xfrm>
            <a:off x="449264" y="269875"/>
            <a:ext cx="4824412" cy="360000"/>
          </a:xfrm>
        </p:spPr>
        <p:txBody>
          <a:bodyPr/>
          <a:lstStyle>
            <a:lvl1pPr>
              <a:defRPr/>
            </a:lvl1pPr>
          </a:lstStyle>
          <a:p>
            <a:r>
              <a:rPr lang="cs-CZ" noProof="0"/>
              <a:t>Nadpis (shrnutí stránky)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0EA372E7-DC21-D60B-AA61-09AE26B7DDC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41200" y="5659200"/>
            <a:ext cx="1002857" cy="108000"/>
          </a:xfrm>
          <a:prstGeom prst="rect">
            <a:avLst/>
          </a:prstGeom>
        </p:spPr>
      </p:pic>
      <p:sp>
        <p:nvSpPr>
          <p:cNvPr id="16" name="Zástupný symbol pro obsah 2">
            <a:extLst>
              <a:ext uri="{FF2B5EF4-FFF2-40B4-BE49-F238E27FC236}">
                <a16:creationId xmlns:a16="http://schemas.microsoft.com/office/drawing/2014/main" id="{340CA0B5-574E-883F-7589-CDD3F13CBEE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49264" y="1314450"/>
            <a:ext cx="4824412" cy="4032250"/>
          </a:xfrm>
        </p:spPr>
        <p:txBody>
          <a:bodyPr/>
          <a:lstStyle>
            <a:lvl1pPr>
              <a:defRPr baseline="0">
                <a:latin typeface="SKODA Next" panose="020B0504020603020204" pitchFamily="34" charset="0"/>
              </a:defRPr>
            </a:lvl1pPr>
            <a:lvl2pPr>
              <a:defRPr>
                <a:latin typeface="SKODA Next" panose="020B0504020603020204" pitchFamily="34" charset="0"/>
              </a:defRPr>
            </a:lvl2pPr>
            <a:lvl3pPr>
              <a:defRPr>
                <a:latin typeface="SKODA Next" panose="020B0504020603020204" pitchFamily="34" charset="0"/>
              </a:defRPr>
            </a:lvl3pPr>
            <a:lvl4pPr>
              <a:defRPr>
                <a:latin typeface="SKODA Next" panose="020B0504020603020204" pitchFamily="34" charset="0"/>
              </a:defRPr>
            </a:lvl4pPr>
            <a:lvl5pPr>
              <a:defRPr>
                <a:latin typeface="SKODA Next" panose="020B0504020603020204" pitchFamily="34" charset="0"/>
              </a:defRPr>
            </a:lvl5pPr>
            <a:lvl6pPr marL="900000" indent="0">
              <a:buNone/>
              <a:defRPr/>
            </a:lvl6pPr>
          </a:lstStyle>
          <a:p>
            <a:pPr lvl="0"/>
            <a:r>
              <a:rPr lang="cs-CZ" noProof="0"/>
              <a:t>První úroveň</a:t>
            </a:r>
          </a:p>
          <a:p>
            <a:pPr lvl="1"/>
            <a:r>
              <a:rPr lang="cs-CZ" noProof="0"/>
              <a:t>Druhá úroveň</a:t>
            </a:r>
          </a:p>
          <a:p>
            <a:pPr lvl="2"/>
            <a:r>
              <a:rPr lang="cs-CZ" noProof="0"/>
              <a:t>Třetí úroveň</a:t>
            </a:r>
          </a:p>
          <a:p>
            <a:pPr lvl="3"/>
            <a:r>
              <a:rPr lang="cs-CZ" noProof="0"/>
              <a:t>Čtvrtá úroveň</a:t>
            </a:r>
          </a:p>
          <a:p>
            <a:pPr lvl="4"/>
            <a:r>
              <a:rPr lang="cs-CZ" noProof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97768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3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Relationship Id="rId30" Type="http://schemas.openxmlformats.org/officeDocument/2006/relationships/image" Target="../media/image2.sv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18" Type="http://schemas.openxmlformats.org/officeDocument/2006/relationships/slideLayout" Target="../slideLayouts/slideLayout44.xml"/><Relationship Id="rId26" Type="http://schemas.openxmlformats.org/officeDocument/2006/relationships/slideLayout" Target="../slideLayouts/slideLayout52.xml"/><Relationship Id="rId3" Type="http://schemas.openxmlformats.org/officeDocument/2006/relationships/slideLayout" Target="../slideLayouts/slideLayout29.xml"/><Relationship Id="rId21" Type="http://schemas.openxmlformats.org/officeDocument/2006/relationships/slideLayout" Target="../slideLayouts/slideLayout47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slideLayout" Target="../slideLayouts/slideLayout43.xml"/><Relationship Id="rId25" Type="http://schemas.openxmlformats.org/officeDocument/2006/relationships/slideLayout" Target="../slideLayouts/slideLayout51.xml"/><Relationship Id="rId2" Type="http://schemas.openxmlformats.org/officeDocument/2006/relationships/slideLayout" Target="../slideLayouts/slideLayout28.xml"/><Relationship Id="rId16" Type="http://schemas.openxmlformats.org/officeDocument/2006/relationships/slideLayout" Target="../slideLayouts/slideLayout42.xml"/><Relationship Id="rId20" Type="http://schemas.openxmlformats.org/officeDocument/2006/relationships/slideLayout" Target="../slideLayouts/slideLayout46.xml"/><Relationship Id="rId29" Type="http://schemas.openxmlformats.org/officeDocument/2006/relationships/image" Target="../media/image1.png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24" Type="http://schemas.openxmlformats.org/officeDocument/2006/relationships/slideLayout" Target="../slideLayouts/slideLayout50.xml"/><Relationship Id="rId32" Type="http://schemas.openxmlformats.org/officeDocument/2006/relationships/image" Target="../media/image3.emf"/><Relationship Id="rId5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41.xml"/><Relationship Id="rId23" Type="http://schemas.openxmlformats.org/officeDocument/2006/relationships/slideLayout" Target="../slideLayouts/slideLayout49.xml"/><Relationship Id="rId28" Type="http://schemas.openxmlformats.org/officeDocument/2006/relationships/tags" Target="../tags/tag10.xml"/><Relationship Id="rId10" Type="http://schemas.openxmlformats.org/officeDocument/2006/relationships/slideLayout" Target="../slideLayouts/slideLayout36.xml"/><Relationship Id="rId19" Type="http://schemas.openxmlformats.org/officeDocument/2006/relationships/slideLayout" Target="../slideLayouts/slideLayout45.xml"/><Relationship Id="rId31" Type="http://schemas.openxmlformats.org/officeDocument/2006/relationships/oleObject" Target="../embeddings/oleObject9.bin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Relationship Id="rId22" Type="http://schemas.openxmlformats.org/officeDocument/2006/relationships/slideLayout" Target="../slideLayouts/slideLayout48.xml"/><Relationship Id="rId27" Type="http://schemas.openxmlformats.org/officeDocument/2006/relationships/theme" Target="../theme/theme2.xml"/><Relationship Id="rId30" Type="http://schemas.openxmlformats.org/officeDocument/2006/relationships/image" Target="../media/image2.sv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.xml"/><Relationship Id="rId13" Type="http://schemas.openxmlformats.org/officeDocument/2006/relationships/slideLayout" Target="../slideLayouts/slideLayout65.xml"/><Relationship Id="rId18" Type="http://schemas.openxmlformats.org/officeDocument/2006/relationships/slideLayout" Target="../slideLayouts/slideLayout70.xml"/><Relationship Id="rId3" Type="http://schemas.openxmlformats.org/officeDocument/2006/relationships/slideLayout" Target="../slideLayouts/slideLayout55.xml"/><Relationship Id="rId21" Type="http://schemas.openxmlformats.org/officeDocument/2006/relationships/tags" Target="../tags/tag18.xml"/><Relationship Id="rId7" Type="http://schemas.openxmlformats.org/officeDocument/2006/relationships/slideLayout" Target="../slideLayouts/slideLayout59.xml"/><Relationship Id="rId12" Type="http://schemas.openxmlformats.org/officeDocument/2006/relationships/slideLayout" Target="../slideLayouts/slideLayout64.xml"/><Relationship Id="rId17" Type="http://schemas.openxmlformats.org/officeDocument/2006/relationships/slideLayout" Target="../slideLayouts/slideLayout69.xml"/><Relationship Id="rId25" Type="http://schemas.openxmlformats.org/officeDocument/2006/relationships/image" Target="../media/image3.emf"/><Relationship Id="rId2" Type="http://schemas.openxmlformats.org/officeDocument/2006/relationships/slideLayout" Target="../slideLayouts/slideLayout54.xml"/><Relationship Id="rId16" Type="http://schemas.openxmlformats.org/officeDocument/2006/relationships/slideLayout" Target="../slideLayouts/slideLayout68.xml"/><Relationship Id="rId20" Type="http://schemas.openxmlformats.org/officeDocument/2006/relationships/theme" Target="../theme/theme3.xml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11" Type="http://schemas.openxmlformats.org/officeDocument/2006/relationships/slideLayout" Target="../slideLayouts/slideLayout63.xml"/><Relationship Id="rId24" Type="http://schemas.openxmlformats.org/officeDocument/2006/relationships/oleObject" Target="../embeddings/oleObject11.bin"/><Relationship Id="rId5" Type="http://schemas.openxmlformats.org/officeDocument/2006/relationships/slideLayout" Target="../slideLayouts/slideLayout57.xml"/><Relationship Id="rId15" Type="http://schemas.openxmlformats.org/officeDocument/2006/relationships/slideLayout" Target="../slideLayouts/slideLayout67.xml"/><Relationship Id="rId23" Type="http://schemas.openxmlformats.org/officeDocument/2006/relationships/image" Target="../media/image2.svg"/><Relationship Id="rId10" Type="http://schemas.openxmlformats.org/officeDocument/2006/relationships/slideLayout" Target="../slideLayouts/slideLayout62.xml"/><Relationship Id="rId19" Type="http://schemas.openxmlformats.org/officeDocument/2006/relationships/slideLayout" Target="../slideLayouts/slideLayout71.xml"/><Relationship Id="rId4" Type="http://schemas.openxmlformats.org/officeDocument/2006/relationships/slideLayout" Target="../slideLayouts/slideLayout56.xml"/><Relationship Id="rId9" Type="http://schemas.openxmlformats.org/officeDocument/2006/relationships/slideLayout" Target="../slideLayouts/slideLayout61.xml"/><Relationship Id="rId14" Type="http://schemas.openxmlformats.org/officeDocument/2006/relationships/slideLayout" Target="../slideLayouts/slideLayout66.xml"/><Relationship Id="rId22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73B76C94-D88D-90F3-7B57-67606C5FFEF9}"/>
              </a:ext>
            </a:extLst>
          </p:cNvPr>
          <p:cNvPicPr>
            <a:picLocks noChangeAspect="1"/>
          </p:cNvPicPr>
          <p:nvPr userDrawn="1"/>
        </p:nvPicPr>
        <p:blipFill>
          <a:blip r:embed="rId29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9239693" y="5659592"/>
            <a:ext cx="1002857" cy="108000"/>
          </a:xfrm>
          <a:prstGeom prst="rect">
            <a:avLst/>
          </a:prstGeom>
        </p:spPr>
      </p:pic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8"/>
            </p:custDataLst>
          </p:nvPr>
        </p:nvGraphicFramePr>
        <p:xfrm>
          <a:off x="1590" y="1264"/>
          <a:ext cx="1587" cy="12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399" imgH="398" progId="TCLayout.ActiveDocument.1">
                  <p:embed/>
                </p:oleObj>
              </mc:Choice>
              <mc:Fallback>
                <p:oleObj name="think-cell Slide" r:id="rId31" imgW="399" imgH="39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90" y="1264"/>
                        <a:ext cx="1587" cy="12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449263" y="1314451"/>
            <a:ext cx="9793287" cy="403225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846000" y="5598000"/>
            <a:ext cx="7740788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cs-CZ" noProof="0"/>
              <a:t>| 08.11. 2023 | Odborná praxe | GQD-1 | Ondřej Hlaváček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4"/>
          </p:nvPr>
        </p:nvSpPr>
        <p:spPr>
          <a:xfrm>
            <a:off x="449263" y="5598000"/>
            <a:ext cx="26996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 b="1">
                <a:solidFill>
                  <a:schemeClr val="tx1"/>
                </a:solidFill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449263" y="269875"/>
            <a:ext cx="9793287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cs-CZ" noProof="0" dirty="0"/>
              <a:t>Nadpis (shrnutí stránky)</a:t>
            </a:r>
          </a:p>
        </p:txBody>
      </p:sp>
      <p:sp>
        <p:nvSpPr>
          <p:cNvPr id="4" name="MSIPCMContentMarking" descr="{&quot;HashCode&quot;:1622173095,&quot;Placement&quot;:&quot;Footer&quot;,&quot;Top&quot;:456.2375,&quot;Left&quot;:0.0,&quot;SlideWidth&quot;:841,&quot;SlideHeight&quot;:473}">
            <a:extLst>
              <a:ext uri="{FF2B5EF4-FFF2-40B4-BE49-F238E27FC236}">
                <a16:creationId xmlns:a16="http://schemas.microsoft.com/office/drawing/2014/main" id="{9C78BBDC-2FE7-8282-0473-C489017E8B46}"/>
              </a:ext>
            </a:extLst>
          </p:cNvPr>
          <p:cNvSpPr txBox="1"/>
          <p:nvPr userDrawn="1"/>
        </p:nvSpPr>
        <p:spPr>
          <a:xfrm>
            <a:off x="0" y="5794216"/>
            <a:ext cx="744382" cy="21764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cs-CZ" sz="800">
                <a:solidFill>
                  <a:srgbClr val="000000"/>
                </a:solidFill>
                <a:latin typeface="Arial" panose="020B060402020202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39986083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36" r:id="rId2"/>
    <p:sldLayoutId id="2147483737" r:id="rId3"/>
    <p:sldLayoutId id="2147483740" r:id="rId4"/>
    <p:sldLayoutId id="2147483776" r:id="rId5"/>
    <p:sldLayoutId id="2147483738" r:id="rId6"/>
    <p:sldLayoutId id="2147483739" r:id="rId7"/>
    <p:sldLayoutId id="2147483777" r:id="rId8"/>
    <p:sldLayoutId id="2147483778" r:id="rId9"/>
    <p:sldLayoutId id="2147483780" r:id="rId10"/>
    <p:sldLayoutId id="2147483779" r:id="rId11"/>
    <p:sldLayoutId id="2147483782" r:id="rId12"/>
    <p:sldLayoutId id="2147483735" r:id="rId13"/>
    <p:sldLayoutId id="2147483726" r:id="rId14"/>
    <p:sldLayoutId id="2147483727" r:id="rId15"/>
    <p:sldLayoutId id="2147483775" r:id="rId16"/>
    <p:sldLayoutId id="2147483728" r:id="rId17"/>
    <p:sldLayoutId id="2147483730" r:id="rId18"/>
    <p:sldLayoutId id="2147483729" r:id="rId19"/>
    <p:sldLayoutId id="2147483774" r:id="rId20"/>
    <p:sldLayoutId id="2147483731" r:id="rId21"/>
    <p:sldLayoutId id="2147483732" r:id="rId22"/>
    <p:sldLayoutId id="2147483752" r:id="rId23"/>
    <p:sldLayoutId id="2147483753" r:id="rId24"/>
    <p:sldLayoutId id="2147483754" r:id="rId25"/>
    <p:sldLayoutId id="2147483773" r:id="rId26"/>
  </p:sldLayoutIdLst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  <p:hf hdr="0" dt="0"/>
  <p:txStyles>
    <p:titleStyle>
      <a:lvl1pPr algn="l" defTabSz="1043056" rtl="0" eaLnBrk="1" latinLnBrk="0" hangingPunct="1">
        <a:lnSpc>
          <a:spcPts val="2600"/>
        </a:lnSpc>
        <a:spcBef>
          <a:spcPct val="0"/>
        </a:spcBef>
        <a:buNone/>
        <a:defRPr sz="2000" b="1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1pPr>
    </p:titleStyle>
    <p:bodyStyle>
      <a:lvl1pPr marL="180000" indent="-180000" algn="l" defTabSz="1043056" rtl="0" eaLnBrk="1" latinLnBrk="0" hangingPunct="1">
        <a:lnSpc>
          <a:spcPct val="115000"/>
        </a:lnSpc>
        <a:spcBef>
          <a:spcPts val="0"/>
        </a:spcBef>
        <a:buClrTx/>
        <a:buSzPct val="100000"/>
        <a:buFont typeface="SKODA Next" panose="020B0504020603020204" pitchFamily="34" charset="0"/>
        <a:buChar char="−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1pPr>
      <a:lvl2pPr marL="360000" indent="-180000" algn="l" defTabSz="1043056" rtl="0" eaLnBrk="1" latinLnBrk="0" hangingPunct="1">
        <a:lnSpc>
          <a:spcPct val="115000"/>
        </a:lnSpc>
        <a:spcBef>
          <a:spcPts val="0"/>
        </a:spcBef>
        <a:buClrTx/>
        <a:buSzPct val="100000"/>
        <a:buFont typeface="SKODA Next" panose="020B0504020603020204" pitchFamily="34" charset="0"/>
        <a:buChar char="−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2pPr>
      <a:lvl3pPr marL="540000" indent="-180000" algn="l" defTabSz="1043056" rtl="0" eaLnBrk="1" latinLnBrk="0" hangingPunct="1">
        <a:lnSpc>
          <a:spcPct val="115000"/>
        </a:lnSpc>
        <a:spcBef>
          <a:spcPts val="0"/>
        </a:spcBef>
        <a:buClrTx/>
        <a:buSzPct val="100000"/>
        <a:buFont typeface="SKODA Next" panose="020B0504020603020204" pitchFamily="34" charset="0"/>
        <a:buChar char="−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3pPr>
      <a:lvl4pPr marL="720000" indent="-180000" algn="l" defTabSz="1043056" rtl="0" eaLnBrk="1" latinLnBrk="0" hangingPunct="1">
        <a:lnSpc>
          <a:spcPct val="115000"/>
        </a:lnSpc>
        <a:spcBef>
          <a:spcPts val="0"/>
        </a:spcBef>
        <a:buClrTx/>
        <a:buSzPct val="100000"/>
        <a:buFont typeface="SKODA Next" panose="020B0504020603020204" pitchFamily="34" charset="0"/>
        <a:buChar char="−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4pPr>
      <a:lvl5pPr marL="900000" indent="-180000" algn="l" defTabSz="1043056" rtl="0" eaLnBrk="1" latinLnBrk="0" hangingPunct="1">
        <a:lnSpc>
          <a:spcPct val="115000"/>
        </a:lnSpc>
        <a:spcBef>
          <a:spcPts val="0"/>
        </a:spcBef>
        <a:buClrTx/>
        <a:buSzPct val="100000"/>
        <a:buFont typeface="SKODA Next" panose="020B0504020603020204" pitchFamily="34" charset="0"/>
        <a:buChar char="−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5pPr>
      <a:lvl6pPr marL="900000" indent="0" algn="l" defTabSz="1043056" rtl="0" eaLnBrk="1" latinLnBrk="0" hangingPunct="1">
        <a:lnSpc>
          <a:spcPct val="114000"/>
        </a:lnSpc>
        <a:spcBef>
          <a:spcPts val="0"/>
        </a:spcBef>
        <a:buClrTx/>
        <a:buFont typeface="SKODA Next" panose="020B0504020603020204" pitchFamily="34" charset="0"/>
        <a:buNone/>
        <a:defRPr sz="1600" kern="1200">
          <a:solidFill>
            <a:schemeClr val="tx1"/>
          </a:solidFill>
          <a:latin typeface="SKODA Next" panose="020B0504020603020204" pitchFamily="34" charset="0"/>
          <a:ea typeface="+mn-ea"/>
          <a:cs typeface="+mn-cs"/>
        </a:defRPr>
      </a:lvl6pPr>
      <a:lvl7pPr marL="1260000" indent="-180000" algn="l" defTabSz="1043056" rtl="0" eaLnBrk="1" latinLnBrk="0" hangingPunct="1">
        <a:lnSpc>
          <a:spcPct val="114000"/>
        </a:lnSpc>
        <a:spcBef>
          <a:spcPts val="0"/>
        </a:spcBef>
        <a:buFont typeface="SKODA Next" panose="020B0504020603020204" pitchFamily="34" charset="0"/>
        <a:buChar char="−"/>
        <a:defRPr sz="1600" kern="1200">
          <a:solidFill>
            <a:schemeClr val="tx1"/>
          </a:solidFill>
          <a:latin typeface="SKODA Next" panose="020B0504020603020204" pitchFamily="34" charset="0"/>
          <a:ea typeface="+mn-ea"/>
          <a:cs typeface="+mn-cs"/>
        </a:defRPr>
      </a:lvl7pPr>
      <a:lvl8pPr marL="1440000" indent="-180000" algn="l" defTabSz="1043056" rtl="0" eaLnBrk="1" latinLnBrk="0" hangingPunct="1">
        <a:lnSpc>
          <a:spcPct val="114000"/>
        </a:lnSpc>
        <a:spcBef>
          <a:spcPts val="0"/>
        </a:spcBef>
        <a:buFont typeface="SKODA Next" panose="020B0504020603020204" pitchFamily="34" charset="0"/>
        <a:buChar char="−"/>
        <a:defRPr sz="1600" kern="1200">
          <a:solidFill>
            <a:schemeClr val="tx1"/>
          </a:solidFill>
          <a:latin typeface="SKODA Next" panose="020B0504020603020204" pitchFamily="34" charset="0"/>
          <a:ea typeface="+mn-ea"/>
          <a:cs typeface="+mn-cs"/>
        </a:defRPr>
      </a:lvl8pPr>
      <a:lvl9pPr marL="1620000" indent="-180000" algn="l" defTabSz="1043056" rtl="0" eaLnBrk="1" latinLnBrk="0" hangingPunct="1">
        <a:lnSpc>
          <a:spcPct val="114000"/>
        </a:lnSpc>
        <a:spcBef>
          <a:spcPts val="0"/>
        </a:spcBef>
        <a:buFont typeface="SKODA Next" panose="020B0504020603020204" pitchFamily="34" charset="0"/>
        <a:buChar char="−"/>
        <a:defRPr sz="1600" kern="1200">
          <a:solidFill>
            <a:schemeClr val="tx1"/>
          </a:solidFill>
          <a:latin typeface="SKODA Next" panose="020B0504020603020204" pitchFamily="34" charset="0"/>
          <a:ea typeface="+mn-ea"/>
          <a:cs typeface="+mn-cs"/>
        </a:defRPr>
      </a:lvl9pPr>
    </p:bodyStyle>
    <p:otherStyle>
      <a:defPPr>
        <a:defRPr lang="cs-CZ"/>
      </a:defPPr>
      <a:lvl1pPr marL="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52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305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58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6112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639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916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69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222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0" userDrawn="1">
          <p15:clr>
            <a:srgbClr val="F26B43"/>
          </p15:clr>
        </p15:guide>
        <p15:guide id="2" pos="3322" userDrawn="1">
          <p15:clr>
            <a:srgbClr val="F26B43"/>
          </p15:clr>
        </p15:guide>
        <p15:guide id="3" pos="2370" userDrawn="1">
          <p15:clr>
            <a:srgbClr val="F26B43"/>
          </p15:clr>
        </p15:guide>
        <p15:guide id="4" pos="2279" userDrawn="1">
          <p15:clr>
            <a:srgbClr val="F26B43"/>
          </p15:clr>
        </p15:guide>
        <p15:guide id="5" pos="1326" userDrawn="1">
          <p15:clr>
            <a:srgbClr val="F26B43"/>
          </p15:clr>
        </p15:guide>
        <p15:guide id="6" pos="1236" userDrawn="1">
          <p15:clr>
            <a:srgbClr val="F26B43"/>
          </p15:clr>
        </p15:guide>
        <p15:guide id="7" pos="283" userDrawn="1">
          <p15:clr>
            <a:srgbClr val="F26B43"/>
          </p15:clr>
        </p15:guide>
        <p15:guide id="8" pos="3413" userDrawn="1">
          <p15:clr>
            <a:srgbClr val="F26B43"/>
          </p15:clr>
        </p15:guide>
        <p15:guide id="9" pos="4365" userDrawn="1">
          <p15:clr>
            <a:srgbClr val="F26B43"/>
          </p15:clr>
        </p15:guide>
        <p15:guide id="10" pos="4456" userDrawn="1">
          <p15:clr>
            <a:srgbClr val="F26B43"/>
          </p15:clr>
        </p15:guide>
        <p15:guide id="11" pos="5409" userDrawn="1">
          <p15:clr>
            <a:srgbClr val="F26B43"/>
          </p15:clr>
        </p15:guide>
        <p15:guide id="12" pos="5499" userDrawn="1">
          <p15:clr>
            <a:srgbClr val="F26B43"/>
          </p15:clr>
        </p15:guide>
        <p15:guide id="14" orient="horz" pos="828" userDrawn="1">
          <p15:clr>
            <a:srgbClr val="F26B43"/>
          </p15:clr>
        </p15:guide>
        <p15:guide id="15" orient="horz" pos="3368" userDrawn="1">
          <p15:clr>
            <a:srgbClr val="F26B43"/>
          </p15:clr>
        </p15:guide>
        <p15:guide id="16" orient="horz" pos="2052" userDrawn="1">
          <p15:clr>
            <a:srgbClr val="F26B43"/>
          </p15:clr>
        </p15:guide>
        <p15:guide id="17" orient="horz" pos="2143" userDrawn="1">
          <p15:clr>
            <a:srgbClr val="F26B43"/>
          </p15:clr>
        </p15:guide>
        <p15:guide id="18" pos="6452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9425C78C-10A7-3C67-0F4D-6452760EE785}"/>
              </a:ext>
            </a:extLst>
          </p:cNvPr>
          <p:cNvPicPr>
            <a:picLocks noChangeAspect="1"/>
          </p:cNvPicPr>
          <p:nvPr userDrawn="1"/>
        </p:nvPicPr>
        <p:blipFill>
          <a:blip r:embed="rId29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9239693" y="5659592"/>
            <a:ext cx="1002857" cy="108000"/>
          </a:xfrm>
          <a:prstGeom prst="rect">
            <a:avLst/>
          </a:prstGeom>
        </p:spPr>
      </p:pic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8"/>
            </p:custDataLst>
          </p:nvPr>
        </p:nvGraphicFramePr>
        <p:xfrm>
          <a:off x="1590" y="1264"/>
          <a:ext cx="1587" cy="12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399" imgH="398" progId="TCLayout.ActiveDocument.1">
                  <p:embed/>
                </p:oleObj>
              </mc:Choice>
              <mc:Fallback>
                <p:oleObj name="think-cell Slide" r:id="rId31" imgW="399" imgH="398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90" y="1264"/>
                        <a:ext cx="1587" cy="12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449263" y="1314451"/>
            <a:ext cx="9793287" cy="403225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cs-CZ" noProof="0" dirty="0"/>
              <a:t>První úroveň</a:t>
            </a:r>
          </a:p>
          <a:p>
            <a:pPr lvl="1"/>
            <a:r>
              <a:rPr lang="cs-CZ" noProof="0" dirty="0"/>
              <a:t>Druhá úroveň</a:t>
            </a:r>
          </a:p>
          <a:p>
            <a:pPr lvl="2"/>
            <a:r>
              <a:rPr lang="cs-CZ" noProof="0" dirty="0"/>
              <a:t>Třetí úroveň</a:t>
            </a:r>
          </a:p>
          <a:p>
            <a:pPr lvl="3"/>
            <a:r>
              <a:rPr lang="cs-CZ" noProof="0" dirty="0"/>
              <a:t>Čtvrtá úroveň</a:t>
            </a:r>
          </a:p>
          <a:p>
            <a:pPr lvl="4"/>
            <a:r>
              <a:rPr lang="cs-CZ" noProof="0" dirty="0"/>
              <a:t>Pátá úroveň</a:t>
            </a: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846000" y="5598000"/>
            <a:ext cx="7740788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cs-CZ" noProof="0"/>
              <a:t>| 08.11. 2023 | Odborná praxe | GQD-1 | Ondřej Hlaváček</a:t>
            </a:r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4"/>
          </p:nvPr>
        </p:nvSpPr>
        <p:spPr>
          <a:xfrm>
            <a:off x="449263" y="5598000"/>
            <a:ext cx="26996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 b="1">
                <a:solidFill>
                  <a:schemeClr val="tx1"/>
                </a:solidFill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1E956721-BB38-4972-8ACD-5A2C9377E3B4}" type="slidenum">
              <a:rPr lang="cs-CZ" noProof="0" smtClean="0"/>
              <a:pPr/>
              <a:t>‹#›</a:t>
            </a:fld>
            <a:endParaRPr lang="cs-CZ" noProof="0"/>
          </a:p>
        </p:txBody>
      </p:sp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449263" y="269875"/>
            <a:ext cx="9793287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cs-CZ" noProof="0"/>
              <a:t>Nadpis (shrnutí stránky)</a:t>
            </a:r>
          </a:p>
        </p:txBody>
      </p:sp>
      <p:sp>
        <p:nvSpPr>
          <p:cNvPr id="8" name="MSIPCMContentMarking" descr="{&quot;HashCode&quot;:1622173095,&quot;Placement&quot;:&quot;Footer&quot;,&quot;Top&quot;:456.2375,&quot;Left&quot;:0.0,&quot;SlideWidth&quot;:841,&quot;SlideHeight&quot;:473}">
            <a:extLst>
              <a:ext uri="{FF2B5EF4-FFF2-40B4-BE49-F238E27FC236}">
                <a16:creationId xmlns:a16="http://schemas.microsoft.com/office/drawing/2014/main" id="{5201BCE0-485D-A0DF-03C1-1012DE0DA54E}"/>
              </a:ext>
            </a:extLst>
          </p:cNvPr>
          <p:cNvSpPr txBox="1"/>
          <p:nvPr userDrawn="1"/>
        </p:nvSpPr>
        <p:spPr>
          <a:xfrm>
            <a:off x="0" y="5794216"/>
            <a:ext cx="744382" cy="21764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cs-CZ" sz="800">
                <a:solidFill>
                  <a:srgbClr val="000000"/>
                </a:solidFill>
                <a:latin typeface="Arial" panose="020B060402020202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226053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802" r:id="rId2"/>
    <p:sldLayoutId id="2147483803" r:id="rId3"/>
    <p:sldLayoutId id="2147483804" r:id="rId4"/>
    <p:sldLayoutId id="2147483805" r:id="rId5"/>
    <p:sldLayoutId id="2147483806" r:id="rId6"/>
    <p:sldLayoutId id="2147483807" r:id="rId7"/>
    <p:sldLayoutId id="2147483808" r:id="rId8"/>
    <p:sldLayoutId id="2147483809" r:id="rId9"/>
    <p:sldLayoutId id="2147483810" r:id="rId10"/>
    <p:sldLayoutId id="2147483811" r:id="rId11"/>
    <p:sldLayoutId id="2147483812" r:id="rId12"/>
    <p:sldLayoutId id="2147483813" r:id="rId13"/>
    <p:sldLayoutId id="2147483814" r:id="rId14"/>
    <p:sldLayoutId id="2147483815" r:id="rId15"/>
    <p:sldLayoutId id="2147483816" r:id="rId16"/>
    <p:sldLayoutId id="2147483817" r:id="rId17"/>
    <p:sldLayoutId id="2147483818" r:id="rId18"/>
    <p:sldLayoutId id="2147483819" r:id="rId19"/>
    <p:sldLayoutId id="2147483820" r:id="rId20"/>
    <p:sldLayoutId id="2147483821" r:id="rId21"/>
    <p:sldLayoutId id="2147483769" r:id="rId22"/>
    <p:sldLayoutId id="2147483770" r:id="rId23"/>
    <p:sldLayoutId id="2147483771" r:id="rId24"/>
    <p:sldLayoutId id="2147483772" r:id="rId25"/>
    <p:sldLayoutId id="2147483801" r:id="rId26"/>
  </p:sldLayoutIdLst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  <p:hf hdr="0" dt="0"/>
  <p:txStyles>
    <p:titleStyle>
      <a:lvl1pPr algn="l" defTabSz="1043056" rtl="0" eaLnBrk="1" latinLnBrk="0" hangingPunct="1">
        <a:lnSpc>
          <a:spcPts val="2600"/>
        </a:lnSpc>
        <a:spcBef>
          <a:spcPct val="0"/>
        </a:spcBef>
        <a:buNone/>
        <a:defRPr sz="2000" b="1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1pPr>
    </p:titleStyle>
    <p:bodyStyle>
      <a:lvl1pPr marL="180000" indent="-180000" algn="l" defTabSz="1043056" rtl="0" eaLnBrk="1" latinLnBrk="0" hangingPunct="1">
        <a:lnSpc>
          <a:spcPct val="115000"/>
        </a:lnSpc>
        <a:spcBef>
          <a:spcPts val="0"/>
        </a:spcBef>
        <a:buClrTx/>
        <a:buSzPct val="100000"/>
        <a:buFont typeface="SKODA Next" panose="020B0504020603020204" pitchFamily="34" charset="0"/>
        <a:buChar char="−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1pPr>
      <a:lvl2pPr marL="360000" indent="-180000" algn="l" defTabSz="1043056" rtl="0" eaLnBrk="1" latinLnBrk="0" hangingPunct="1">
        <a:lnSpc>
          <a:spcPct val="115000"/>
        </a:lnSpc>
        <a:spcBef>
          <a:spcPts val="0"/>
        </a:spcBef>
        <a:buClrTx/>
        <a:buSzPct val="100000"/>
        <a:buFont typeface="SKODA Next" panose="020B0504020603020204" pitchFamily="34" charset="0"/>
        <a:buChar char="−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2pPr>
      <a:lvl3pPr marL="540000" indent="-180000" algn="l" defTabSz="1043056" rtl="0" eaLnBrk="1" latinLnBrk="0" hangingPunct="1">
        <a:lnSpc>
          <a:spcPct val="115000"/>
        </a:lnSpc>
        <a:spcBef>
          <a:spcPts val="0"/>
        </a:spcBef>
        <a:buClrTx/>
        <a:buSzPct val="100000"/>
        <a:buFont typeface="SKODA Next" panose="020B0504020603020204" pitchFamily="34" charset="0"/>
        <a:buChar char="−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3pPr>
      <a:lvl4pPr marL="720000" indent="-180000" algn="l" defTabSz="1043056" rtl="0" eaLnBrk="1" latinLnBrk="0" hangingPunct="1">
        <a:lnSpc>
          <a:spcPct val="115000"/>
        </a:lnSpc>
        <a:spcBef>
          <a:spcPts val="0"/>
        </a:spcBef>
        <a:buClrTx/>
        <a:buSzPct val="100000"/>
        <a:buFont typeface="SKODA Next" panose="020B0504020603020204" pitchFamily="34" charset="0"/>
        <a:buChar char="−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4pPr>
      <a:lvl5pPr marL="900000" indent="-180000" algn="l" defTabSz="1043056" rtl="0" eaLnBrk="1" latinLnBrk="0" hangingPunct="1">
        <a:lnSpc>
          <a:spcPct val="115000"/>
        </a:lnSpc>
        <a:spcBef>
          <a:spcPts val="0"/>
        </a:spcBef>
        <a:buClrTx/>
        <a:buSzPct val="100000"/>
        <a:buFont typeface="SKODA Next" panose="020B0504020603020204" pitchFamily="34" charset="0"/>
        <a:buChar char="−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5pPr>
      <a:lvl6pPr marL="1080000" indent="-180000" algn="l" defTabSz="1043056" rtl="0" eaLnBrk="1" latinLnBrk="0" hangingPunct="1">
        <a:lnSpc>
          <a:spcPct val="114000"/>
        </a:lnSpc>
        <a:spcBef>
          <a:spcPts val="0"/>
        </a:spcBef>
        <a:buFont typeface="SKODA Next" panose="020B0504020603020204" pitchFamily="34" charset="0"/>
        <a:buChar char="−"/>
        <a:defRPr sz="1600" kern="1200">
          <a:solidFill>
            <a:schemeClr val="tx1"/>
          </a:solidFill>
          <a:latin typeface="SKODA Next" panose="020B0504020603020204" pitchFamily="34" charset="0"/>
          <a:ea typeface="+mn-ea"/>
          <a:cs typeface="+mn-cs"/>
        </a:defRPr>
      </a:lvl6pPr>
      <a:lvl7pPr marL="1260000" indent="-180000" algn="l" defTabSz="1043056" rtl="0" eaLnBrk="1" latinLnBrk="0" hangingPunct="1">
        <a:lnSpc>
          <a:spcPct val="114000"/>
        </a:lnSpc>
        <a:spcBef>
          <a:spcPts val="0"/>
        </a:spcBef>
        <a:buFont typeface="SKODA Next" panose="020B0504020603020204" pitchFamily="34" charset="0"/>
        <a:buChar char="−"/>
        <a:defRPr sz="1600" kern="1200">
          <a:solidFill>
            <a:schemeClr val="tx1"/>
          </a:solidFill>
          <a:latin typeface="SKODA Next" panose="020B0504020603020204" pitchFamily="34" charset="0"/>
          <a:ea typeface="+mn-ea"/>
          <a:cs typeface="+mn-cs"/>
        </a:defRPr>
      </a:lvl7pPr>
      <a:lvl8pPr marL="1440000" indent="-180000" algn="l" defTabSz="1043056" rtl="0" eaLnBrk="1" latinLnBrk="0" hangingPunct="1">
        <a:lnSpc>
          <a:spcPct val="114000"/>
        </a:lnSpc>
        <a:spcBef>
          <a:spcPts val="0"/>
        </a:spcBef>
        <a:buFont typeface="SKODA Next" panose="020B0504020603020204" pitchFamily="34" charset="0"/>
        <a:buChar char="−"/>
        <a:defRPr sz="1600" kern="1200">
          <a:solidFill>
            <a:schemeClr val="tx1"/>
          </a:solidFill>
          <a:latin typeface="SKODA Next" panose="020B0504020603020204" pitchFamily="34" charset="0"/>
          <a:ea typeface="+mn-ea"/>
          <a:cs typeface="+mn-cs"/>
        </a:defRPr>
      </a:lvl8pPr>
      <a:lvl9pPr marL="1620000" indent="-180000" algn="l" defTabSz="1043056" rtl="0" eaLnBrk="1" latinLnBrk="0" hangingPunct="1">
        <a:lnSpc>
          <a:spcPct val="114000"/>
        </a:lnSpc>
        <a:spcBef>
          <a:spcPts val="0"/>
        </a:spcBef>
        <a:buFont typeface="SKODA Next" panose="020B0504020603020204" pitchFamily="34" charset="0"/>
        <a:buChar char="−"/>
        <a:defRPr sz="1600" kern="1200">
          <a:solidFill>
            <a:schemeClr val="tx1"/>
          </a:solidFill>
          <a:latin typeface="SKODA Next" panose="020B0504020603020204" pitchFamily="34" charset="0"/>
          <a:ea typeface="+mn-ea"/>
          <a:cs typeface="+mn-cs"/>
        </a:defRPr>
      </a:lvl9pPr>
    </p:bodyStyle>
    <p:otherStyle>
      <a:defPPr>
        <a:defRPr lang="cs-CZ"/>
      </a:defPPr>
      <a:lvl1pPr marL="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52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305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58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6112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639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916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69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222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0" userDrawn="1">
          <p15:clr>
            <a:srgbClr val="F26B43"/>
          </p15:clr>
        </p15:guide>
        <p15:guide id="2" pos="3322" userDrawn="1">
          <p15:clr>
            <a:srgbClr val="F26B43"/>
          </p15:clr>
        </p15:guide>
        <p15:guide id="3" pos="2370" userDrawn="1">
          <p15:clr>
            <a:srgbClr val="F26B43"/>
          </p15:clr>
        </p15:guide>
        <p15:guide id="4" pos="2279" userDrawn="1">
          <p15:clr>
            <a:srgbClr val="F26B43"/>
          </p15:clr>
        </p15:guide>
        <p15:guide id="5" pos="1326" userDrawn="1">
          <p15:clr>
            <a:srgbClr val="F26B43"/>
          </p15:clr>
        </p15:guide>
        <p15:guide id="6" pos="1236" userDrawn="1">
          <p15:clr>
            <a:srgbClr val="F26B43"/>
          </p15:clr>
        </p15:guide>
        <p15:guide id="7" pos="283" userDrawn="1">
          <p15:clr>
            <a:srgbClr val="F26B43"/>
          </p15:clr>
        </p15:guide>
        <p15:guide id="8" pos="3413" userDrawn="1">
          <p15:clr>
            <a:srgbClr val="F26B43"/>
          </p15:clr>
        </p15:guide>
        <p15:guide id="9" pos="4365" userDrawn="1">
          <p15:clr>
            <a:srgbClr val="F26B43"/>
          </p15:clr>
        </p15:guide>
        <p15:guide id="10" pos="4456" userDrawn="1">
          <p15:clr>
            <a:srgbClr val="F26B43"/>
          </p15:clr>
        </p15:guide>
        <p15:guide id="11" pos="5409" userDrawn="1">
          <p15:clr>
            <a:srgbClr val="F26B43"/>
          </p15:clr>
        </p15:guide>
        <p15:guide id="12" pos="5499" userDrawn="1">
          <p15:clr>
            <a:srgbClr val="F26B43"/>
          </p15:clr>
        </p15:guide>
        <p15:guide id="14" orient="horz" pos="828" userDrawn="1">
          <p15:clr>
            <a:srgbClr val="F26B43"/>
          </p15:clr>
        </p15:guide>
        <p15:guide id="15" orient="horz" pos="3368" userDrawn="1">
          <p15:clr>
            <a:srgbClr val="F26B43"/>
          </p15:clr>
        </p15:guide>
        <p15:guide id="16" orient="horz" pos="2052" userDrawn="1">
          <p15:clr>
            <a:srgbClr val="F26B43"/>
          </p15:clr>
        </p15:guide>
        <p15:guide id="17" orient="horz" pos="2143" userDrawn="1">
          <p15:clr>
            <a:srgbClr val="F26B43"/>
          </p15:clr>
        </p15:guide>
        <p15:guide id="18" pos="6452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7">
            <a:extLst>
              <a:ext uri="{FF2B5EF4-FFF2-40B4-BE49-F238E27FC236}">
                <a16:creationId xmlns:a16="http://schemas.microsoft.com/office/drawing/2014/main" id="{73B76C94-D88D-90F3-7B57-67606C5FFEF9}"/>
              </a:ext>
            </a:extLst>
          </p:cNvPr>
          <p:cNvPicPr>
            <a:picLocks noChangeAspect="1"/>
          </p:cNvPicPr>
          <p:nvPr userDrawn="1"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9239693" y="5659592"/>
            <a:ext cx="1002857" cy="108000"/>
          </a:xfrm>
          <a:prstGeom prst="rect">
            <a:avLst/>
          </a:prstGeom>
        </p:spPr>
      </p:pic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1"/>
            </p:custDataLst>
          </p:nvPr>
        </p:nvGraphicFramePr>
        <p:xfrm>
          <a:off x="1590" y="1264"/>
          <a:ext cx="1587" cy="12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399" imgH="398" progId="TCLayout.ActiveDocument.1">
                  <p:embed/>
                </p:oleObj>
              </mc:Choice>
              <mc:Fallback>
                <p:oleObj name="think-cell Slide" r:id="rId24" imgW="399" imgH="398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90" y="1264"/>
                        <a:ext cx="1587" cy="12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449263" y="1314451"/>
            <a:ext cx="9793287" cy="403225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noProof="0" dirty="0"/>
              <a:t>First level text</a:t>
            </a:r>
          </a:p>
          <a:p>
            <a:pPr lvl="1"/>
            <a:r>
              <a:rPr lang="en-GB" noProof="0" dirty="0"/>
              <a:t>Second level text</a:t>
            </a:r>
          </a:p>
          <a:p>
            <a:pPr lvl="2"/>
            <a:r>
              <a:rPr lang="en-GB" noProof="0" dirty="0"/>
              <a:t>Third level text</a:t>
            </a:r>
          </a:p>
          <a:p>
            <a:pPr lvl="3"/>
            <a:r>
              <a:rPr lang="en-GB" noProof="0" dirty="0"/>
              <a:t>Fourth level text</a:t>
            </a:r>
          </a:p>
          <a:p>
            <a:pPr lvl="4"/>
            <a:r>
              <a:rPr lang="en-GB" noProof="0" dirty="0"/>
              <a:t>Fifth level text</a:t>
            </a:r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846000" y="5598000"/>
            <a:ext cx="7740788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GB" dirty="0"/>
              <a:t>SXX | Date | Presentation Title | Department | Name</a:t>
            </a:r>
            <a:endParaRPr lang="en-GB" noProof="0" dirty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4"/>
          </p:nvPr>
        </p:nvSpPr>
        <p:spPr>
          <a:xfrm>
            <a:off x="449263" y="5598000"/>
            <a:ext cx="26996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 b="1">
                <a:solidFill>
                  <a:schemeClr val="tx1"/>
                </a:solidFill>
                <a:latin typeface="SKODA Next" panose="020B0504020603020204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1E956721-BB38-4972-8ACD-5A2C9377E3B4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449263" y="269875"/>
            <a:ext cx="9793287" cy="3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dirty="0"/>
              <a:t>Headline Text (Page Message)</a:t>
            </a:r>
          </a:p>
        </p:txBody>
      </p:sp>
      <p:sp>
        <p:nvSpPr>
          <p:cNvPr id="4" name="MSIPCMContentMarking" descr="{&quot;HashCode&quot;:1622173095,&quot;Placement&quot;:&quot;Footer&quot;,&quot;Top&quot;:456.2375,&quot;Left&quot;:0.0,&quot;SlideWidth&quot;:841,&quot;SlideHeight&quot;:473}">
            <a:extLst>
              <a:ext uri="{FF2B5EF4-FFF2-40B4-BE49-F238E27FC236}">
                <a16:creationId xmlns:a16="http://schemas.microsoft.com/office/drawing/2014/main" id="{06705D24-376A-59A9-08D6-1581D33AD2A4}"/>
              </a:ext>
            </a:extLst>
          </p:cNvPr>
          <p:cNvSpPr txBox="1"/>
          <p:nvPr userDrawn="1"/>
        </p:nvSpPr>
        <p:spPr>
          <a:xfrm>
            <a:off x="0" y="5794216"/>
            <a:ext cx="744382" cy="21764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cs-CZ" sz="800">
                <a:solidFill>
                  <a:srgbClr val="000000"/>
                </a:solidFill>
                <a:latin typeface="Arial" panose="020B060402020202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39653056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3" r:id="rId1"/>
    <p:sldLayoutId id="2147483824" r:id="rId2"/>
    <p:sldLayoutId id="2147483825" r:id="rId3"/>
    <p:sldLayoutId id="2147483826" r:id="rId4"/>
    <p:sldLayoutId id="2147483827" r:id="rId5"/>
    <p:sldLayoutId id="2147483828" r:id="rId6"/>
    <p:sldLayoutId id="2147483829" r:id="rId7"/>
    <p:sldLayoutId id="2147483830" r:id="rId8"/>
    <p:sldLayoutId id="2147483831" r:id="rId9"/>
    <p:sldLayoutId id="2147483832" r:id="rId10"/>
    <p:sldLayoutId id="2147483833" r:id="rId11"/>
    <p:sldLayoutId id="2147483834" r:id="rId12"/>
    <p:sldLayoutId id="2147483835" r:id="rId13"/>
    <p:sldLayoutId id="2147483836" r:id="rId14"/>
    <p:sldLayoutId id="2147483837" r:id="rId15"/>
    <p:sldLayoutId id="2147483838" r:id="rId16"/>
    <p:sldLayoutId id="2147483839" r:id="rId17"/>
    <p:sldLayoutId id="2147483840" r:id="rId18"/>
    <p:sldLayoutId id="2147483841" r:id="rId19"/>
  </p:sldLayoutIdLst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  <p:hf hdr="0" dt="0"/>
  <p:txStyles>
    <p:titleStyle>
      <a:lvl1pPr algn="l" defTabSz="1043056" rtl="0" eaLnBrk="1" latinLnBrk="0" hangingPunct="1">
        <a:lnSpc>
          <a:spcPts val="2600"/>
        </a:lnSpc>
        <a:spcBef>
          <a:spcPct val="0"/>
        </a:spcBef>
        <a:buNone/>
        <a:defRPr sz="2000" b="1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1pPr>
    </p:titleStyle>
    <p:bodyStyle>
      <a:lvl1pPr marL="180000" indent="-180000" algn="l" defTabSz="1043056" rtl="0" eaLnBrk="1" latinLnBrk="0" hangingPunct="1">
        <a:lnSpc>
          <a:spcPct val="115000"/>
        </a:lnSpc>
        <a:spcBef>
          <a:spcPts val="0"/>
        </a:spcBef>
        <a:buClrTx/>
        <a:buSzPct val="100000"/>
        <a:buFont typeface="SKODA Next" panose="020B0504020603020204" pitchFamily="34" charset="0"/>
        <a:buChar char="−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1pPr>
      <a:lvl2pPr marL="360000" indent="-180000" algn="l" defTabSz="1043056" rtl="0" eaLnBrk="1" latinLnBrk="0" hangingPunct="1">
        <a:lnSpc>
          <a:spcPct val="115000"/>
        </a:lnSpc>
        <a:spcBef>
          <a:spcPts val="0"/>
        </a:spcBef>
        <a:buClrTx/>
        <a:buSzPct val="100000"/>
        <a:buFont typeface="SKODA Next" panose="020B0504020603020204" pitchFamily="34" charset="0"/>
        <a:buChar char="−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2pPr>
      <a:lvl3pPr marL="540000" indent="-180000" algn="l" defTabSz="1043056" rtl="0" eaLnBrk="1" latinLnBrk="0" hangingPunct="1">
        <a:lnSpc>
          <a:spcPct val="115000"/>
        </a:lnSpc>
        <a:spcBef>
          <a:spcPts val="0"/>
        </a:spcBef>
        <a:buClrTx/>
        <a:buSzPct val="100000"/>
        <a:buFont typeface="SKODA Next" panose="020B0504020603020204" pitchFamily="34" charset="0"/>
        <a:buChar char="−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3pPr>
      <a:lvl4pPr marL="720000" indent="-180000" algn="l" defTabSz="1043056" rtl="0" eaLnBrk="1" latinLnBrk="0" hangingPunct="1">
        <a:lnSpc>
          <a:spcPct val="115000"/>
        </a:lnSpc>
        <a:spcBef>
          <a:spcPts val="0"/>
        </a:spcBef>
        <a:buClrTx/>
        <a:buSzPct val="100000"/>
        <a:buFont typeface="SKODA Next" panose="020B0504020603020204" pitchFamily="34" charset="0"/>
        <a:buChar char="−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4pPr>
      <a:lvl5pPr marL="900000" indent="-180000" algn="l" defTabSz="1043056" rtl="0" eaLnBrk="1" latinLnBrk="0" hangingPunct="1">
        <a:lnSpc>
          <a:spcPct val="115000"/>
        </a:lnSpc>
        <a:spcBef>
          <a:spcPts val="0"/>
        </a:spcBef>
        <a:buClrTx/>
        <a:buSzPct val="100000"/>
        <a:buFont typeface="SKODA Next" panose="020B0504020603020204" pitchFamily="34" charset="0"/>
        <a:buChar char="−"/>
        <a:defRPr sz="1600" kern="1200">
          <a:solidFill>
            <a:schemeClr val="tx1"/>
          </a:solidFill>
          <a:latin typeface="SKODA Next" panose="020B0504020603020204" pitchFamily="34" charset="0"/>
          <a:ea typeface="Verdana" pitchFamily="34" charset="0"/>
          <a:cs typeface="Verdana" pitchFamily="34" charset="0"/>
        </a:defRPr>
      </a:lvl5pPr>
      <a:lvl6pPr marL="2868404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9932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1460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2987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52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305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58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6112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639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916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69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222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0">
          <p15:clr>
            <a:srgbClr val="F26B43"/>
          </p15:clr>
        </p15:guide>
        <p15:guide id="2" pos="3322">
          <p15:clr>
            <a:srgbClr val="F26B43"/>
          </p15:clr>
        </p15:guide>
        <p15:guide id="3" pos="2370">
          <p15:clr>
            <a:srgbClr val="F26B43"/>
          </p15:clr>
        </p15:guide>
        <p15:guide id="4" pos="2279">
          <p15:clr>
            <a:srgbClr val="F26B43"/>
          </p15:clr>
        </p15:guide>
        <p15:guide id="5" pos="1326">
          <p15:clr>
            <a:srgbClr val="F26B43"/>
          </p15:clr>
        </p15:guide>
        <p15:guide id="6" pos="1236">
          <p15:clr>
            <a:srgbClr val="F26B43"/>
          </p15:clr>
        </p15:guide>
        <p15:guide id="7" pos="283">
          <p15:clr>
            <a:srgbClr val="F26B43"/>
          </p15:clr>
        </p15:guide>
        <p15:guide id="8" pos="3413">
          <p15:clr>
            <a:srgbClr val="F26B43"/>
          </p15:clr>
        </p15:guide>
        <p15:guide id="9" pos="4365">
          <p15:clr>
            <a:srgbClr val="F26B43"/>
          </p15:clr>
        </p15:guide>
        <p15:guide id="10" pos="4456">
          <p15:clr>
            <a:srgbClr val="F26B43"/>
          </p15:clr>
        </p15:guide>
        <p15:guide id="11" pos="5409">
          <p15:clr>
            <a:srgbClr val="F26B43"/>
          </p15:clr>
        </p15:guide>
        <p15:guide id="12" pos="5499">
          <p15:clr>
            <a:srgbClr val="F26B43"/>
          </p15:clr>
        </p15:guide>
        <p15:guide id="14" orient="horz" pos="828">
          <p15:clr>
            <a:srgbClr val="F26B43"/>
          </p15:clr>
        </p15:guide>
        <p15:guide id="15" orient="horz" pos="3368">
          <p15:clr>
            <a:srgbClr val="F26B43"/>
          </p15:clr>
        </p15:guide>
        <p15:guide id="16" orient="horz" pos="2052">
          <p15:clr>
            <a:srgbClr val="F26B43"/>
          </p15:clr>
        </p15:guide>
        <p15:guide id="17" orient="horz" pos="2143">
          <p15:clr>
            <a:srgbClr val="F26B43"/>
          </p15:clr>
        </p15:guide>
        <p15:guide id="18" pos="645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5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6.jp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sv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42.svg"/><Relationship Id="rId4" Type="http://schemas.openxmlformats.org/officeDocument/2006/relationships/image" Target="../media/image4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30.jp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44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E59222-A3D2-1776-2520-E7EEDB5462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262" y="1476000"/>
            <a:ext cx="7686738" cy="4032000"/>
          </a:xfrm>
        </p:spPr>
        <p:txBody>
          <a:bodyPr/>
          <a:lstStyle/>
          <a:p>
            <a:r>
              <a:rPr lang="cs-CZ" dirty="0"/>
              <a:t>N_OPX - Odborná praxe ve Škoda auto a.s.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F42069D-D180-6A20-DE1E-FC9C968633D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956721-BB38-4972-8ACD-5A2C9377E3B4}" type="slidenum">
              <a:rPr lang="cs-CZ" smtClean="0"/>
              <a:pPr/>
              <a:t>1</a:t>
            </a:fld>
            <a:endParaRPr lang="cs-CZ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4972F3E-114B-3331-2342-9DCD58D9EA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dirty="0"/>
              <a:t>| 08.11. 2023 | Odborná praxe | GQD-1 | Ondřej Hlaváček</a:t>
            </a:r>
          </a:p>
        </p:txBody>
      </p:sp>
      <p:pic>
        <p:nvPicPr>
          <p:cNvPr id="7" name="Graphic 13">
            <a:extLst>
              <a:ext uri="{FF2B5EF4-FFF2-40B4-BE49-F238E27FC236}">
                <a16:creationId xmlns:a16="http://schemas.microsoft.com/office/drawing/2014/main" id="{85FBE9D8-F74B-5A59-EC2B-38EB9B47119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28255" y="367415"/>
            <a:ext cx="796778" cy="5475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6279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3" name="Zástupný symbol pro obsah 6">
            <a:extLst>
              <a:ext uri="{FF2B5EF4-FFF2-40B4-BE49-F238E27FC236}">
                <a16:creationId xmlns:a16="http://schemas.microsoft.com/office/drawing/2014/main" id="{54A975F8-68BE-E053-C2CB-609BB323322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521379451"/>
              </p:ext>
            </p:extLst>
          </p:nvPr>
        </p:nvGraphicFramePr>
        <p:xfrm>
          <a:off x="449263" y="713948"/>
          <a:ext cx="4536000" cy="403225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24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708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4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03225">
                <a:tc>
                  <a:txBody>
                    <a:bodyPr/>
                    <a:lstStyle/>
                    <a:p>
                      <a:pPr algn="l" fontAlgn="b"/>
                      <a:r>
                        <a:rPr lang="en-GB" sz="1600" b="0" i="0" u="none" strike="noStrike" noProof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.</a:t>
                      </a:r>
                      <a:r>
                        <a:rPr lang="cs-CZ" sz="1600" b="0" i="0" u="none" strike="noStrike" noProof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 </a:t>
                      </a:r>
                      <a:endParaRPr lang="en-GB" sz="1600" b="0" i="0" u="none" strike="noStrike" noProof="1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 noProof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ředstavení podniku</a:t>
                      </a:r>
                      <a:endParaRPr lang="en-US" sz="1600" b="0" i="0" u="none" strike="noStrike" noProof="1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GB" sz="1600" b="0" i="0" u="none" strike="noStrike" noProof="1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03225">
                <a:tc>
                  <a:txBody>
                    <a:bodyPr/>
                    <a:lstStyle/>
                    <a:p>
                      <a:pPr algn="l" fontAlgn="b"/>
                      <a:r>
                        <a:rPr lang="en-GB" sz="1600" b="0" i="0" u="none" strike="noStrike" noProof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.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 noProof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Moje specializace</a:t>
                      </a:r>
                      <a:endParaRPr lang="en-US" sz="1600" b="0" i="0" u="none" strike="noStrike" noProof="1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GB" sz="1600" b="0" i="0" u="none" strike="noStrike" noProof="1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03225">
                <a:tc>
                  <a:txBody>
                    <a:bodyPr/>
                    <a:lstStyle/>
                    <a:p>
                      <a:pPr algn="l" fontAlgn="b"/>
                      <a:r>
                        <a:rPr lang="en-GB" sz="1600" b="0" i="0" u="none" strike="noStrike" noProof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.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 noProof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Získané znalosti a dovednosti</a:t>
                      </a:r>
                      <a:endParaRPr lang="en-US" sz="1600" b="0" i="0" u="none" strike="noStrike" noProof="1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GB" sz="1600" b="0" i="0" u="none" strike="noStrike" noProof="1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03225">
                <a:tc>
                  <a:txBody>
                    <a:bodyPr/>
                    <a:lstStyle/>
                    <a:p>
                      <a:pPr algn="l" fontAlgn="b"/>
                      <a:r>
                        <a:rPr lang="en-GB" sz="1600" b="0" i="0" u="none" strike="noStrike" noProof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.</a:t>
                      </a: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 noProof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tázky a odpovědi</a:t>
                      </a:r>
                      <a:endParaRPr lang="en-US" sz="1600" b="0" i="0" u="none" strike="noStrike" noProof="1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GB" sz="1600" b="0" i="0" u="none" strike="noStrike" noProof="1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03225">
                <a:tc>
                  <a:txBody>
                    <a:bodyPr/>
                    <a:lstStyle/>
                    <a:p>
                      <a:pPr algn="l" fontAlgn="b"/>
                      <a:endParaRPr lang="en-GB" sz="1600" b="0" i="0" u="none" strike="noStrike" noProof="1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600" b="0" i="0" u="none" strike="noStrike" noProof="1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GB" sz="1600" b="0" i="0" u="none" strike="noStrike" noProof="1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03225">
                <a:tc>
                  <a:txBody>
                    <a:bodyPr/>
                    <a:lstStyle/>
                    <a:p>
                      <a:pPr algn="l" fontAlgn="b"/>
                      <a:endParaRPr lang="en-GB" sz="1600" b="0" i="0" u="none" strike="noStrike" noProof="1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43056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0" i="0" u="none" strike="noStrike" noProof="1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GB" sz="1600" b="0" i="0" u="none" strike="noStrike" noProof="1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03225">
                <a:tc>
                  <a:txBody>
                    <a:bodyPr/>
                    <a:lstStyle/>
                    <a:p>
                      <a:pPr algn="l" fontAlgn="b"/>
                      <a:endParaRPr lang="en-GB" sz="1600" b="0" i="0" u="none" strike="noStrike" noProof="1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600" b="0" i="0" u="none" strike="noStrike" noProof="1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GB" sz="1600" b="0" i="0" u="none" strike="noStrike" noProof="1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03225">
                <a:tc>
                  <a:txBody>
                    <a:bodyPr/>
                    <a:lstStyle/>
                    <a:p>
                      <a:pPr algn="l" fontAlgn="b"/>
                      <a:endParaRPr lang="en-GB" sz="1600" b="0" i="0" u="none" strike="noStrike" noProof="1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600" b="0" i="0" u="none" strike="noStrike" noProof="1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GB" sz="1600" b="0" i="0" u="none" strike="noStrike" noProof="1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03225">
                <a:tc>
                  <a:txBody>
                    <a:bodyPr/>
                    <a:lstStyle/>
                    <a:p>
                      <a:pPr algn="l" fontAlgn="b"/>
                      <a:endParaRPr lang="en-GB" sz="1600" b="0" i="0" u="none" strike="noStrike" noProof="1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600" b="0" i="0" u="none" strike="noStrike" noProof="1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GB" sz="1600" b="0" i="0" u="none" strike="noStrike" noProof="1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03225">
                <a:tc>
                  <a:txBody>
                    <a:bodyPr/>
                    <a:lstStyle/>
                    <a:p>
                      <a:pPr algn="l" fontAlgn="b"/>
                      <a:endParaRPr lang="en-GB" sz="1600" b="0" i="0" u="none" strike="noStrike" noProof="1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600" b="0" i="0" u="none" strike="noStrike" noProof="1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n-GB" sz="1600" b="0" i="0" u="none" strike="noStrike" noProof="1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20894520"/>
                  </a:ext>
                </a:extLst>
              </a:tr>
            </a:tbl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90209A3-B8CC-1CB1-FCFB-1A0FB755961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956721-BB38-4972-8ACD-5A2C9377E3B4}" type="slidenum">
              <a:rPr lang="cs-CZ" smtClean="0"/>
              <a:pPr/>
              <a:t>2</a:t>
            </a:fld>
            <a:endParaRPr lang="cs-CZ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838AE2E-D147-6941-E98C-D93753BEE7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dirty="0"/>
              <a:t>| 08.11. 2023 | Odborná praxe | GQD-1 | Ondřej Hlaváček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02D13EE-ACD7-05E8-07D5-25F727CA2B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Obsah</a:t>
            </a:r>
          </a:p>
        </p:txBody>
      </p:sp>
      <p:pic>
        <p:nvPicPr>
          <p:cNvPr id="8" name="Picture Placeholder 8" descr="A car driving on a dirt road&#10;&#10;Description automatically generated with medium confidence">
            <a:extLst>
              <a:ext uri="{FF2B5EF4-FFF2-40B4-BE49-F238E27FC236}">
                <a16:creationId xmlns:a16="http://schemas.microsoft.com/office/drawing/2014/main" id="{39A54F27-B033-3BF9-1FEC-1D61BD590AD8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036" r="17036"/>
          <a:stretch>
            <a:fillRect/>
          </a:stretch>
        </p:blipFill>
        <p:spPr>
          <a:xfrm>
            <a:off x="5418138" y="0"/>
            <a:ext cx="5273675" cy="6011863"/>
          </a:xfrm>
        </p:spPr>
      </p:pic>
    </p:spTree>
    <p:extLst>
      <p:ext uri="{BB962C8B-B14F-4D97-AF65-F5344CB8AC3E}">
        <p14:creationId xmlns:p14="http://schemas.microsoft.com/office/powerpoint/2010/main" val="1662991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číslo snímku 1">
            <a:extLst>
              <a:ext uri="{FF2B5EF4-FFF2-40B4-BE49-F238E27FC236}">
                <a16:creationId xmlns:a16="http://schemas.microsoft.com/office/drawing/2014/main" id="{E0DB5738-0F23-499E-AAF5-F10EBD25E85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956721-BB38-4972-8ACD-5A2C9377E3B4}" type="slidenum">
              <a:rPr lang="cs-CZ" smtClean="0"/>
              <a:pPr/>
              <a:t>3</a:t>
            </a:fld>
            <a:endParaRPr lang="cs-CZ" dirty="0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EBEB215D-35AC-4E7B-8F95-5DF4AFD07E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dirty="0"/>
              <a:t>| 08.11. 2023 | Odborná praxe | GQD-1 | Ondřej Hlaváček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6EB56923-2B20-600D-A22B-4BFE18B0910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cs-CZ" dirty="0"/>
              <a:t>Česká republika</a:t>
            </a:r>
          </a:p>
        </p:txBody>
      </p:sp>
      <p:sp>
        <p:nvSpPr>
          <p:cNvPr id="5" name="Nadpis 4">
            <a:extLst>
              <a:ext uri="{FF2B5EF4-FFF2-40B4-BE49-F238E27FC236}">
                <a16:creationId xmlns:a16="http://schemas.microsoft.com/office/drawing/2014/main" id="{3720A442-7F31-4689-B6FD-850DD20561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Škoda auto a.s. v Mladé Boleslavi</a:t>
            </a:r>
          </a:p>
        </p:txBody>
      </p:sp>
      <p:grpSp>
        <p:nvGrpSpPr>
          <p:cNvPr id="14" name="Group 10">
            <a:extLst>
              <a:ext uri="{FF2B5EF4-FFF2-40B4-BE49-F238E27FC236}">
                <a16:creationId xmlns:a16="http://schemas.microsoft.com/office/drawing/2014/main" id="{EFE930A0-49DF-49CE-B5C4-0030B987AF7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-124309" y="1128012"/>
            <a:ext cx="5399238" cy="2883010"/>
            <a:chOff x="1366" y="1406"/>
            <a:chExt cx="4004" cy="2138"/>
          </a:xfrm>
          <a:solidFill>
            <a:schemeClr val="bg1"/>
          </a:solidFill>
        </p:grpSpPr>
        <p:sp>
          <p:nvSpPr>
            <p:cNvPr id="15" name="AutoShape 9">
              <a:extLst>
                <a:ext uri="{FF2B5EF4-FFF2-40B4-BE49-F238E27FC236}">
                  <a16:creationId xmlns:a16="http://schemas.microsoft.com/office/drawing/2014/main" id="{30A17D80-AEFB-4F8D-8401-ABAF0DAFFEC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366" y="1406"/>
              <a:ext cx="4004" cy="213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6" name="Freeform 11">
              <a:extLst>
                <a:ext uri="{FF2B5EF4-FFF2-40B4-BE49-F238E27FC236}">
                  <a16:creationId xmlns:a16="http://schemas.microsoft.com/office/drawing/2014/main" id="{B00A4FFE-8517-4A35-942E-2073BB821E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6" y="1523"/>
              <a:ext cx="2222" cy="1832"/>
            </a:xfrm>
            <a:custGeom>
              <a:avLst/>
              <a:gdLst>
                <a:gd name="T0" fmla="*/ 2874 w 4445"/>
                <a:gd name="T1" fmla="*/ 3007 h 3664"/>
                <a:gd name="T2" fmla="*/ 2729 w 4445"/>
                <a:gd name="T3" fmla="*/ 3192 h 3664"/>
                <a:gd name="T4" fmla="*/ 2591 w 4445"/>
                <a:gd name="T5" fmla="*/ 3326 h 3664"/>
                <a:gd name="T6" fmla="*/ 2421 w 4445"/>
                <a:gd name="T7" fmla="*/ 3618 h 3664"/>
                <a:gd name="T8" fmla="*/ 2224 w 4445"/>
                <a:gd name="T9" fmla="*/ 3525 h 3664"/>
                <a:gd name="T10" fmla="*/ 2101 w 4445"/>
                <a:gd name="T11" fmla="*/ 3664 h 3664"/>
                <a:gd name="T12" fmla="*/ 1812 w 4445"/>
                <a:gd name="T13" fmla="*/ 3548 h 3664"/>
                <a:gd name="T14" fmla="*/ 1748 w 4445"/>
                <a:gd name="T15" fmla="*/ 3432 h 3664"/>
                <a:gd name="T16" fmla="*/ 1525 w 4445"/>
                <a:gd name="T17" fmla="*/ 3177 h 3664"/>
                <a:gd name="T18" fmla="*/ 1319 w 4445"/>
                <a:gd name="T19" fmla="*/ 3056 h 3664"/>
                <a:gd name="T20" fmla="*/ 1102 w 4445"/>
                <a:gd name="T21" fmla="*/ 2834 h 3664"/>
                <a:gd name="T22" fmla="*/ 874 w 4445"/>
                <a:gd name="T23" fmla="*/ 2627 h 3664"/>
                <a:gd name="T24" fmla="*/ 641 w 4445"/>
                <a:gd name="T25" fmla="*/ 2503 h 3664"/>
                <a:gd name="T26" fmla="*/ 487 w 4445"/>
                <a:gd name="T27" fmla="*/ 2226 h 3664"/>
                <a:gd name="T28" fmla="*/ 290 w 4445"/>
                <a:gd name="T29" fmla="*/ 1939 h 3664"/>
                <a:gd name="T30" fmla="*/ 380 w 4445"/>
                <a:gd name="T31" fmla="*/ 1714 h 3664"/>
                <a:gd name="T32" fmla="*/ 309 w 4445"/>
                <a:gd name="T33" fmla="*/ 1553 h 3664"/>
                <a:gd name="T34" fmla="*/ 151 w 4445"/>
                <a:gd name="T35" fmla="*/ 1437 h 3664"/>
                <a:gd name="T36" fmla="*/ 34 w 4445"/>
                <a:gd name="T37" fmla="*/ 1183 h 3664"/>
                <a:gd name="T38" fmla="*/ 99 w 4445"/>
                <a:gd name="T39" fmla="*/ 1047 h 3664"/>
                <a:gd name="T40" fmla="*/ 202 w 4445"/>
                <a:gd name="T41" fmla="*/ 1211 h 3664"/>
                <a:gd name="T42" fmla="*/ 285 w 4445"/>
                <a:gd name="T43" fmla="*/ 1095 h 3664"/>
                <a:gd name="T44" fmla="*/ 442 w 4445"/>
                <a:gd name="T45" fmla="*/ 928 h 3664"/>
                <a:gd name="T46" fmla="*/ 706 w 4445"/>
                <a:gd name="T47" fmla="*/ 858 h 3664"/>
                <a:gd name="T48" fmla="*/ 960 w 4445"/>
                <a:gd name="T49" fmla="*/ 792 h 3664"/>
                <a:gd name="T50" fmla="*/ 1138 w 4445"/>
                <a:gd name="T51" fmla="*/ 693 h 3664"/>
                <a:gd name="T52" fmla="*/ 1303 w 4445"/>
                <a:gd name="T53" fmla="*/ 653 h 3664"/>
                <a:gd name="T54" fmla="*/ 1469 w 4445"/>
                <a:gd name="T55" fmla="*/ 471 h 3664"/>
                <a:gd name="T56" fmla="*/ 1683 w 4445"/>
                <a:gd name="T57" fmla="*/ 447 h 3664"/>
                <a:gd name="T58" fmla="*/ 1994 w 4445"/>
                <a:gd name="T59" fmla="*/ 284 h 3664"/>
                <a:gd name="T60" fmla="*/ 2065 w 4445"/>
                <a:gd name="T61" fmla="*/ 136 h 3664"/>
                <a:gd name="T62" fmla="*/ 2101 w 4445"/>
                <a:gd name="T63" fmla="*/ 20 h 3664"/>
                <a:gd name="T64" fmla="*/ 2266 w 4445"/>
                <a:gd name="T65" fmla="*/ 53 h 3664"/>
                <a:gd name="T66" fmla="*/ 2381 w 4445"/>
                <a:gd name="T67" fmla="*/ 254 h 3664"/>
                <a:gd name="T68" fmla="*/ 2586 w 4445"/>
                <a:gd name="T69" fmla="*/ 258 h 3664"/>
                <a:gd name="T70" fmla="*/ 2686 w 4445"/>
                <a:gd name="T71" fmla="*/ 116 h 3664"/>
                <a:gd name="T72" fmla="*/ 2859 w 4445"/>
                <a:gd name="T73" fmla="*/ 44 h 3664"/>
                <a:gd name="T74" fmla="*/ 2986 w 4445"/>
                <a:gd name="T75" fmla="*/ 125 h 3664"/>
                <a:gd name="T76" fmla="*/ 3083 w 4445"/>
                <a:gd name="T77" fmla="*/ 391 h 3664"/>
                <a:gd name="T78" fmla="*/ 3466 w 4445"/>
                <a:gd name="T79" fmla="*/ 419 h 3664"/>
                <a:gd name="T80" fmla="*/ 3649 w 4445"/>
                <a:gd name="T81" fmla="*/ 630 h 3664"/>
                <a:gd name="T82" fmla="*/ 3845 w 4445"/>
                <a:gd name="T83" fmla="*/ 583 h 3664"/>
                <a:gd name="T84" fmla="*/ 4038 w 4445"/>
                <a:gd name="T85" fmla="*/ 713 h 3664"/>
                <a:gd name="T86" fmla="*/ 3875 w 4445"/>
                <a:gd name="T87" fmla="*/ 866 h 3664"/>
                <a:gd name="T88" fmla="*/ 3999 w 4445"/>
                <a:gd name="T89" fmla="*/ 962 h 3664"/>
                <a:gd name="T90" fmla="*/ 4333 w 4445"/>
                <a:gd name="T91" fmla="*/ 1349 h 3664"/>
                <a:gd name="T92" fmla="*/ 4416 w 4445"/>
                <a:gd name="T93" fmla="*/ 1355 h 3664"/>
                <a:gd name="T94" fmla="*/ 4334 w 4445"/>
                <a:gd name="T95" fmla="*/ 1533 h 3664"/>
                <a:gd name="T96" fmla="*/ 4253 w 4445"/>
                <a:gd name="T97" fmla="*/ 1713 h 3664"/>
                <a:gd name="T98" fmla="*/ 4152 w 4445"/>
                <a:gd name="T99" fmla="*/ 1869 h 3664"/>
                <a:gd name="T100" fmla="*/ 4022 w 4445"/>
                <a:gd name="T101" fmla="*/ 1933 h 3664"/>
                <a:gd name="T102" fmla="*/ 4150 w 4445"/>
                <a:gd name="T103" fmla="*/ 2075 h 3664"/>
                <a:gd name="T104" fmla="*/ 3853 w 4445"/>
                <a:gd name="T105" fmla="*/ 1989 h 3664"/>
                <a:gd name="T106" fmla="*/ 3604 w 4445"/>
                <a:gd name="T107" fmla="*/ 2010 h 3664"/>
                <a:gd name="T108" fmla="*/ 3566 w 4445"/>
                <a:gd name="T109" fmla="*/ 2162 h 3664"/>
                <a:gd name="T110" fmla="*/ 3466 w 4445"/>
                <a:gd name="T111" fmla="*/ 2329 h 3664"/>
                <a:gd name="T112" fmla="*/ 3333 w 4445"/>
                <a:gd name="T113" fmla="*/ 2361 h 3664"/>
                <a:gd name="T114" fmla="*/ 3124 w 4445"/>
                <a:gd name="T115" fmla="*/ 2523 h 3664"/>
                <a:gd name="T116" fmla="*/ 3010 w 4445"/>
                <a:gd name="T117" fmla="*/ 2578 h 3664"/>
                <a:gd name="T118" fmla="*/ 2893 w 4445"/>
                <a:gd name="T119" fmla="*/ 2707 h 3664"/>
                <a:gd name="T120" fmla="*/ 2983 w 4445"/>
                <a:gd name="T121" fmla="*/ 2708 h 3664"/>
                <a:gd name="T122" fmla="*/ 2963 w 4445"/>
                <a:gd name="T123" fmla="*/ 2838 h 3664"/>
                <a:gd name="T124" fmla="*/ 2971 w 4445"/>
                <a:gd name="T125" fmla="*/ 2936 h 36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445" h="3664">
                  <a:moveTo>
                    <a:pt x="3012" y="3021"/>
                  </a:moveTo>
                  <a:lnTo>
                    <a:pt x="3012" y="3021"/>
                  </a:lnTo>
                  <a:lnTo>
                    <a:pt x="3012" y="3036"/>
                  </a:lnTo>
                  <a:lnTo>
                    <a:pt x="3010" y="3050"/>
                  </a:lnTo>
                  <a:lnTo>
                    <a:pt x="3010" y="3050"/>
                  </a:lnTo>
                  <a:lnTo>
                    <a:pt x="3009" y="3057"/>
                  </a:lnTo>
                  <a:lnTo>
                    <a:pt x="3007" y="3063"/>
                  </a:lnTo>
                  <a:lnTo>
                    <a:pt x="3003" y="3069"/>
                  </a:lnTo>
                  <a:lnTo>
                    <a:pt x="3000" y="3072"/>
                  </a:lnTo>
                  <a:lnTo>
                    <a:pt x="2994" y="3074"/>
                  </a:lnTo>
                  <a:lnTo>
                    <a:pt x="2988" y="3075"/>
                  </a:lnTo>
                  <a:lnTo>
                    <a:pt x="2982" y="3074"/>
                  </a:lnTo>
                  <a:lnTo>
                    <a:pt x="2974" y="3072"/>
                  </a:lnTo>
                  <a:lnTo>
                    <a:pt x="2974" y="3072"/>
                  </a:lnTo>
                  <a:lnTo>
                    <a:pt x="2962" y="3068"/>
                  </a:lnTo>
                  <a:lnTo>
                    <a:pt x="2957" y="3068"/>
                  </a:lnTo>
                  <a:lnTo>
                    <a:pt x="2951" y="3068"/>
                  </a:lnTo>
                  <a:lnTo>
                    <a:pt x="2947" y="3069"/>
                  </a:lnTo>
                  <a:lnTo>
                    <a:pt x="2942" y="3072"/>
                  </a:lnTo>
                  <a:lnTo>
                    <a:pt x="2932" y="3080"/>
                  </a:lnTo>
                  <a:lnTo>
                    <a:pt x="2932" y="3080"/>
                  </a:lnTo>
                  <a:lnTo>
                    <a:pt x="2927" y="3084"/>
                  </a:lnTo>
                  <a:lnTo>
                    <a:pt x="2920" y="3089"/>
                  </a:lnTo>
                  <a:lnTo>
                    <a:pt x="2920" y="3089"/>
                  </a:lnTo>
                  <a:lnTo>
                    <a:pt x="2914" y="3092"/>
                  </a:lnTo>
                  <a:lnTo>
                    <a:pt x="2908" y="3093"/>
                  </a:lnTo>
                  <a:lnTo>
                    <a:pt x="2903" y="3092"/>
                  </a:lnTo>
                  <a:lnTo>
                    <a:pt x="2897" y="3090"/>
                  </a:lnTo>
                  <a:lnTo>
                    <a:pt x="2893" y="3087"/>
                  </a:lnTo>
                  <a:lnTo>
                    <a:pt x="2890" y="3083"/>
                  </a:lnTo>
                  <a:lnTo>
                    <a:pt x="2886" y="3078"/>
                  </a:lnTo>
                  <a:lnTo>
                    <a:pt x="2885" y="3071"/>
                  </a:lnTo>
                  <a:lnTo>
                    <a:pt x="2885" y="3071"/>
                  </a:lnTo>
                  <a:lnTo>
                    <a:pt x="2885" y="3062"/>
                  </a:lnTo>
                  <a:lnTo>
                    <a:pt x="2886" y="3053"/>
                  </a:lnTo>
                  <a:lnTo>
                    <a:pt x="2890" y="3033"/>
                  </a:lnTo>
                  <a:lnTo>
                    <a:pt x="2890" y="3033"/>
                  </a:lnTo>
                  <a:lnTo>
                    <a:pt x="2891" y="3021"/>
                  </a:lnTo>
                  <a:lnTo>
                    <a:pt x="2890" y="3016"/>
                  </a:lnTo>
                  <a:lnTo>
                    <a:pt x="2886" y="3013"/>
                  </a:lnTo>
                  <a:lnTo>
                    <a:pt x="2883" y="3010"/>
                  </a:lnTo>
                  <a:lnTo>
                    <a:pt x="2880" y="3009"/>
                  </a:lnTo>
                  <a:lnTo>
                    <a:pt x="2874" y="3007"/>
                  </a:lnTo>
                  <a:lnTo>
                    <a:pt x="2868" y="3007"/>
                  </a:lnTo>
                  <a:lnTo>
                    <a:pt x="2868" y="3007"/>
                  </a:lnTo>
                  <a:lnTo>
                    <a:pt x="2847" y="3009"/>
                  </a:lnTo>
                  <a:lnTo>
                    <a:pt x="2826" y="3010"/>
                  </a:lnTo>
                  <a:lnTo>
                    <a:pt x="2826" y="3010"/>
                  </a:lnTo>
                  <a:lnTo>
                    <a:pt x="2814" y="3009"/>
                  </a:lnTo>
                  <a:lnTo>
                    <a:pt x="2809" y="3009"/>
                  </a:lnTo>
                  <a:lnTo>
                    <a:pt x="2805" y="3007"/>
                  </a:lnTo>
                  <a:lnTo>
                    <a:pt x="2802" y="3006"/>
                  </a:lnTo>
                  <a:lnTo>
                    <a:pt x="2799" y="3001"/>
                  </a:lnTo>
                  <a:lnTo>
                    <a:pt x="2797" y="2995"/>
                  </a:lnTo>
                  <a:lnTo>
                    <a:pt x="2799" y="2988"/>
                  </a:lnTo>
                  <a:lnTo>
                    <a:pt x="2799" y="2988"/>
                  </a:lnTo>
                  <a:lnTo>
                    <a:pt x="2797" y="2985"/>
                  </a:lnTo>
                  <a:lnTo>
                    <a:pt x="2797" y="2983"/>
                  </a:lnTo>
                  <a:lnTo>
                    <a:pt x="2797" y="2983"/>
                  </a:lnTo>
                  <a:lnTo>
                    <a:pt x="2791" y="2980"/>
                  </a:lnTo>
                  <a:lnTo>
                    <a:pt x="2785" y="2977"/>
                  </a:lnTo>
                  <a:lnTo>
                    <a:pt x="2776" y="2977"/>
                  </a:lnTo>
                  <a:lnTo>
                    <a:pt x="2769" y="2977"/>
                  </a:lnTo>
                  <a:lnTo>
                    <a:pt x="2760" y="2980"/>
                  </a:lnTo>
                  <a:lnTo>
                    <a:pt x="2752" y="2982"/>
                  </a:lnTo>
                  <a:lnTo>
                    <a:pt x="2746" y="2986"/>
                  </a:lnTo>
                  <a:lnTo>
                    <a:pt x="2742" y="2991"/>
                  </a:lnTo>
                  <a:lnTo>
                    <a:pt x="2742" y="2991"/>
                  </a:lnTo>
                  <a:lnTo>
                    <a:pt x="2736" y="3010"/>
                  </a:lnTo>
                  <a:lnTo>
                    <a:pt x="2731" y="3032"/>
                  </a:lnTo>
                  <a:lnTo>
                    <a:pt x="2731" y="3041"/>
                  </a:lnTo>
                  <a:lnTo>
                    <a:pt x="2731" y="3051"/>
                  </a:lnTo>
                  <a:lnTo>
                    <a:pt x="2734" y="3072"/>
                  </a:lnTo>
                  <a:lnTo>
                    <a:pt x="2734" y="3072"/>
                  </a:lnTo>
                  <a:lnTo>
                    <a:pt x="2745" y="3115"/>
                  </a:lnTo>
                  <a:lnTo>
                    <a:pt x="2745" y="3115"/>
                  </a:lnTo>
                  <a:lnTo>
                    <a:pt x="2748" y="3130"/>
                  </a:lnTo>
                  <a:lnTo>
                    <a:pt x="2746" y="3143"/>
                  </a:lnTo>
                  <a:lnTo>
                    <a:pt x="2746" y="3151"/>
                  </a:lnTo>
                  <a:lnTo>
                    <a:pt x="2743" y="3157"/>
                  </a:lnTo>
                  <a:lnTo>
                    <a:pt x="2740" y="3164"/>
                  </a:lnTo>
                  <a:lnTo>
                    <a:pt x="2736" y="3170"/>
                  </a:lnTo>
                  <a:lnTo>
                    <a:pt x="2736" y="3170"/>
                  </a:lnTo>
                  <a:lnTo>
                    <a:pt x="2731" y="3177"/>
                  </a:lnTo>
                  <a:lnTo>
                    <a:pt x="2729" y="3184"/>
                  </a:lnTo>
                  <a:lnTo>
                    <a:pt x="2729" y="3192"/>
                  </a:lnTo>
                  <a:lnTo>
                    <a:pt x="2732" y="3199"/>
                  </a:lnTo>
                  <a:lnTo>
                    <a:pt x="2732" y="3199"/>
                  </a:lnTo>
                  <a:lnTo>
                    <a:pt x="2736" y="3207"/>
                  </a:lnTo>
                  <a:lnTo>
                    <a:pt x="2739" y="3216"/>
                  </a:lnTo>
                  <a:lnTo>
                    <a:pt x="2740" y="3223"/>
                  </a:lnTo>
                  <a:lnTo>
                    <a:pt x="2740" y="3231"/>
                  </a:lnTo>
                  <a:lnTo>
                    <a:pt x="2737" y="3240"/>
                  </a:lnTo>
                  <a:lnTo>
                    <a:pt x="2736" y="3248"/>
                  </a:lnTo>
                  <a:lnTo>
                    <a:pt x="2731" y="3255"/>
                  </a:lnTo>
                  <a:lnTo>
                    <a:pt x="2726" y="3263"/>
                  </a:lnTo>
                  <a:lnTo>
                    <a:pt x="2726" y="3263"/>
                  </a:lnTo>
                  <a:lnTo>
                    <a:pt x="2716" y="3281"/>
                  </a:lnTo>
                  <a:lnTo>
                    <a:pt x="2716" y="3281"/>
                  </a:lnTo>
                  <a:lnTo>
                    <a:pt x="2713" y="3288"/>
                  </a:lnTo>
                  <a:lnTo>
                    <a:pt x="2711" y="3293"/>
                  </a:lnTo>
                  <a:lnTo>
                    <a:pt x="2711" y="3296"/>
                  </a:lnTo>
                  <a:lnTo>
                    <a:pt x="2713" y="3300"/>
                  </a:lnTo>
                  <a:lnTo>
                    <a:pt x="2716" y="3303"/>
                  </a:lnTo>
                  <a:lnTo>
                    <a:pt x="2723" y="3309"/>
                  </a:lnTo>
                  <a:lnTo>
                    <a:pt x="2723" y="3309"/>
                  </a:lnTo>
                  <a:lnTo>
                    <a:pt x="2731" y="3314"/>
                  </a:lnTo>
                  <a:lnTo>
                    <a:pt x="2736" y="3322"/>
                  </a:lnTo>
                  <a:lnTo>
                    <a:pt x="2737" y="3325"/>
                  </a:lnTo>
                  <a:lnTo>
                    <a:pt x="2737" y="3329"/>
                  </a:lnTo>
                  <a:lnTo>
                    <a:pt x="2737" y="3334"/>
                  </a:lnTo>
                  <a:lnTo>
                    <a:pt x="2736" y="3338"/>
                  </a:lnTo>
                  <a:lnTo>
                    <a:pt x="2736" y="3338"/>
                  </a:lnTo>
                  <a:lnTo>
                    <a:pt x="2729" y="3347"/>
                  </a:lnTo>
                  <a:lnTo>
                    <a:pt x="2722" y="3355"/>
                  </a:lnTo>
                  <a:lnTo>
                    <a:pt x="2714" y="3359"/>
                  </a:lnTo>
                  <a:lnTo>
                    <a:pt x="2708" y="3361"/>
                  </a:lnTo>
                  <a:lnTo>
                    <a:pt x="2702" y="3361"/>
                  </a:lnTo>
                  <a:lnTo>
                    <a:pt x="2702" y="3361"/>
                  </a:lnTo>
                  <a:lnTo>
                    <a:pt x="2692" y="3359"/>
                  </a:lnTo>
                  <a:lnTo>
                    <a:pt x="2681" y="3356"/>
                  </a:lnTo>
                  <a:lnTo>
                    <a:pt x="2671" y="3353"/>
                  </a:lnTo>
                  <a:lnTo>
                    <a:pt x="2662" y="3349"/>
                  </a:lnTo>
                  <a:lnTo>
                    <a:pt x="2662" y="3349"/>
                  </a:lnTo>
                  <a:lnTo>
                    <a:pt x="2631" y="3337"/>
                  </a:lnTo>
                  <a:lnTo>
                    <a:pt x="2616" y="3331"/>
                  </a:lnTo>
                  <a:lnTo>
                    <a:pt x="2601" y="3328"/>
                  </a:lnTo>
                  <a:lnTo>
                    <a:pt x="2601" y="3328"/>
                  </a:lnTo>
                  <a:lnTo>
                    <a:pt x="2591" y="3326"/>
                  </a:lnTo>
                  <a:lnTo>
                    <a:pt x="2580" y="3326"/>
                  </a:lnTo>
                  <a:lnTo>
                    <a:pt x="2580" y="3326"/>
                  </a:lnTo>
                  <a:lnTo>
                    <a:pt x="2572" y="3329"/>
                  </a:lnTo>
                  <a:lnTo>
                    <a:pt x="2568" y="3332"/>
                  </a:lnTo>
                  <a:lnTo>
                    <a:pt x="2566" y="3335"/>
                  </a:lnTo>
                  <a:lnTo>
                    <a:pt x="2566" y="3338"/>
                  </a:lnTo>
                  <a:lnTo>
                    <a:pt x="2568" y="3346"/>
                  </a:lnTo>
                  <a:lnTo>
                    <a:pt x="2568" y="3346"/>
                  </a:lnTo>
                  <a:lnTo>
                    <a:pt x="2572" y="3361"/>
                  </a:lnTo>
                  <a:lnTo>
                    <a:pt x="2574" y="3374"/>
                  </a:lnTo>
                  <a:lnTo>
                    <a:pt x="2574" y="3385"/>
                  </a:lnTo>
                  <a:lnTo>
                    <a:pt x="2571" y="3396"/>
                  </a:lnTo>
                  <a:lnTo>
                    <a:pt x="2565" y="3403"/>
                  </a:lnTo>
                  <a:lnTo>
                    <a:pt x="2556" y="3411"/>
                  </a:lnTo>
                  <a:lnTo>
                    <a:pt x="2544" y="3418"/>
                  </a:lnTo>
                  <a:lnTo>
                    <a:pt x="2530" y="3426"/>
                  </a:lnTo>
                  <a:lnTo>
                    <a:pt x="2530" y="3426"/>
                  </a:lnTo>
                  <a:lnTo>
                    <a:pt x="2520" y="3432"/>
                  </a:lnTo>
                  <a:lnTo>
                    <a:pt x="2512" y="3438"/>
                  </a:lnTo>
                  <a:lnTo>
                    <a:pt x="2505" y="3447"/>
                  </a:lnTo>
                  <a:lnTo>
                    <a:pt x="2498" y="3454"/>
                  </a:lnTo>
                  <a:lnTo>
                    <a:pt x="2495" y="3464"/>
                  </a:lnTo>
                  <a:lnTo>
                    <a:pt x="2492" y="3474"/>
                  </a:lnTo>
                  <a:lnTo>
                    <a:pt x="2491" y="3485"/>
                  </a:lnTo>
                  <a:lnTo>
                    <a:pt x="2489" y="3495"/>
                  </a:lnTo>
                  <a:lnTo>
                    <a:pt x="2489" y="3495"/>
                  </a:lnTo>
                  <a:lnTo>
                    <a:pt x="2489" y="3536"/>
                  </a:lnTo>
                  <a:lnTo>
                    <a:pt x="2489" y="3577"/>
                  </a:lnTo>
                  <a:lnTo>
                    <a:pt x="2489" y="3577"/>
                  </a:lnTo>
                  <a:lnTo>
                    <a:pt x="2488" y="3584"/>
                  </a:lnTo>
                  <a:lnTo>
                    <a:pt x="2486" y="3592"/>
                  </a:lnTo>
                  <a:lnTo>
                    <a:pt x="2483" y="3599"/>
                  </a:lnTo>
                  <a:lnTo>
                    <a:pt x="2480" y="3605"/>
                  </a:lnTo>
                  <a:lnTo>
                    <a:pt x="2476" y="3612"/>
                  </a:lnTo>
                  <a:lnTo>
                    <a:pt x="2470" y="3616"/>
                  </a:lnTo>
                  <a:lnTo>
                    <a:pt x="2464" y="3619"/>
                  </a:lnTo>
                  <a:lnTo>
                    <a:pt x="2456" y="3622"/>
                  </a:lnTo>
                  <a:lnTo>
                    <a:pt x="2456" y="3622"/>
                  </a:lnTo>
                  <a:lnTo>
                    <a:pt x="2447" y="3625"/>
                  </a:lnTo>
                  <a:lnTo>
                    <a:pt x="2440" y="3625"/>
                  </a:lnTo>
                  <a:lnTo>
                    <a:pt x="2432" y="3625"/>
                  </a:lnTo>
                  <a:lnTo>
                    <a:pt x="2426" y="3622"/>
                  </a:lnTo>
                  <a:lnTo>
                    <a:pt x="2421" y="3618"/>
                  </a:lnTo>
                  <a:lnTo>
                    <a:pt x="2417" y="3613"/>
                  </a:lnTo>
                  <a:lnTo>
                    <a:pt x="2412" y="3605"/>
                  </a:lnTo>
                  <a:lnTo>
                    <a:pt x="2411" y="3596"/>
                  </a:lnTo>
                  <a:lnTo>
                    <a:pt x="2411" y="3596"/>
                  </a:lnTo>
                  <a:lnTo>
                    <a:pt x="2409" y="3590"/>
                  </a:lnTo>
                  <a:lnTo>
                    <a:pt x="2406" y="3586"/>
                  </a:lnTo>
                  <a:lnTo>
                    <a:pt x="2405" y="3584"/>
                  </a:lnTo>
                  <a:lnTo>
                    <a:pt x="2402" y="3583"/>
                  </a:lnTo>
                  <a:lnTo>
                    <a:pt x="2394" y="3586"/>
                  </a:lnTo>
                  <a:lnTo>
                    <a:pt x="2394" y="3586"/>
                  </a:lnTo>
                  <a:lnTo>
                    <a:pt x="2390" y="3587"/>
                  </a:lnTo>
                  <a:lnTo>
                    <a:pt x="2387" y="3587"/>
                  </a:lnTo>
                  <a:lnTo>
                    <a:pt x="2384" y="3586"/>
                  </a:lnTo>
                  <a:lnTo>
                    <a:pt x="2382" y="3583"/>
                  </a:lnTo>
                  <a:lnTo>
                    <a:pt x="2378" y="3578"/>
                  </a:lnTo>
                  <a:lnTo>
                    <a:pt x="2375" y="3571"/>
                  </a:lnTo>
                  <a:lnTo>
                    <a:pt x="2375" y="3571"/>
                  </a:lnTo>
                  <a:lnTo>
                    <a:pt x="2375" y="3563"/>
                  </a:lnTo>
                  <a:lnTo>
                    <a:pt x="2373" y="3559"/>
                  </a:lnTo>
                  <a:lnTo>
                    <a:pt x="2370" y="3557"/>
                  </a:lnTo>
                  <a:lnTo>
                    <a:pt x="2370" y="3557"/>
                  </a:lnTo>
                  <a:lnTo>
                    <a:pt x="2367" y="3557"/>
                  </a:lnTo>
                  <a:lnTo>
                    <a:pt x="2364" y="3560"/>
                  </a:lnTo>
                  <a:lnTo>
                    <a:pt x="2358" y="3566"/>
                  </a:lnTo>
                  <a:lnTo>
                    <a:pt x="2358" y="3566"/>
                  </a:lnTo>
                  <a:lnTo>
                    <a:pt x="2352" y="3572"/>
                  </a:lnTo>
                  <a:lnTo>
                    <a:pt x="2346" y="3577"/>
                  </a:lnTo>
                  <a:lnTo>
                    <a:pt x="2340" y="3581"/>
                  </a:lnTo>
                  <a:lnTo>
                    <a:pt x="2332" y="3584"/>
                  </a:lnTo>
                  <a:lnTo>
                    <a:pt x="2319" y="3587"/>
                  </a:lnTo>
                  <a:lnTo>
                    <a:pt x="2305" y="3587"/>
                  </a:lnTo>
                  <a:lnTo>
                    <a:pt x="2290" y="3584"/>
                  </a:lnTo>
                  <a:lnTo>
                    <a:pt x="2277" y="3578"/>
                  </a:lnTo>
                  <a:lnTo>
                    <a:pt x="2264" y="3568"/>
                  </a:lnTo>
                  <a:lnTo>
                    <a:pt x="2254" y="3554"/>
                  </a:lnTo>
                  <a:lnTo>
                    <a:pt x="2254" y="3554"/>
                  </a:lnTo>
                  <a:lnTo>
                    <a:pt x="2237" y="3528"/>
                  </a:lnTo>
                  <a:lnTo>
                    <a:pt x="2237" y="3528"/>
                  </a:lnTo>
                  <a:lnTo>
                    <a:pt x="2234" y="3525"/>
                  </a:lnTo>
                  <a:lnTo>
                    <a:pt x="2231" y="3524"/>
                  </a:lnTo>
                  <a:lnTo>
                    <a:pt x="2228" y="3524"/>
                  </a:lnTo>
                  <a:lnTo>
                    <a:pt x="2224" y="3525"/>
                  </a:lnTo>
                  <a:lnTo>
                    <a:pt x="2224" y="3525"/>
                  </a:lnTo>
                  <a:lnTo>
                    <a:pt x="2222" y="3528"/>
                  </a:lnTo>
                  <a:lnTo>
                    <a:pt x="2224" y="3530"/>
                  </a:lnTo>
                  <a:lnTo>
                    <a:pt x="2227" y="3534"/>
                  </a:lnTo>
                  <a:lnTo>
                    <a:pt x="2227" y="3534"/>
                  </a:lnTo>
                  <a:lnTo>
                    <a:pt x="2230" y="3544"/>
                  </a:lnTo>
                  <a:lnTo>
                    <a:pt x="2231" y="3554"/>
                  </a:lnTo>
                  <a:lnTo>
                    <a:pt x="2230" y="3566"/>
                  </a:lnTo>
                  <a:lnTo>
                    <a:pt x="2227" y="3578"/>
                  </a:lnTo>
                  <a:lnTo>
                    <a:pt x="2222" y="3589"/>
                  </a:lnTo>
                  <a:lnTo>
                    <a:pt x="2216" y="3599"/>
                  </a:lnTo>
                  <a:lnTo>
                    <a:pt x="2210" y="3607"/>
                  </a:lnTo>
                  <a:lnTo>
                    <a:pt x="2201" y="3612"/>
                  </a:lnTo>
                  <a:lnTo>
                    <a:pt x="2201" y="3612"/>
                  </a:lnTo>
                  <a:lnTo>
                    <a:pt x="2197" y="3613"/>
                  </a:lnTo>
                  <a:lnTo>
                    <a:pt x="2193" y="3613"/>
                  </a:lnTo>
                  <a:lnTo>
                    <a:pt x="2184" y="3610"/>
                  </a:lnTo>
                  <a:lnTo>
                    <a:pt x="2177" y="3607"/>
                  </a:lnTo>
                  <a:lnTo>
                    <a:pt x="2169" y="3604"/>
                  </a:lnTo>
                  <a:lnTo>
                    <a:pt x="2169" y="3604"/>
                  </a:lnTo>
                  <a:lnTo>
                    <a:pt x="2168" y="3607"/>
                  </a:lnTo>
                  <a:lnTo>
                    <a:pt x="2168" y="3612"/>
                  </a:lnTo>
                  <a:lnTo>
                    <a:pt x="2168" y="3618"/>
                  </a:lnTo>
                  <a:lnTo>
                    <a:pt x="2168" y="3618"/>
                  </a:lnTo>
                  <a:lnTo>
                    <a:pt x="2168" y="3628"/>
                  </a:lnTo>
                  <a:lnTo>
                    <a:pt x="2166" y="3633"/>
                  </a:lnTo>
                  <a:lnTo>
                    <a:pt x="2163" y="3636"/>
                  </a:lnTo>
                  <a:lnTo>
                    <a:pt x="2160" y="3637"/>
                  </a:lnTo>
                  <a:lnTo>
                    <a:pt x="2156" y="3637"/>
                  </a:lnTo>
                  <a:lnTo>
                    <a:pt x="2151" y="3637"/>
                  </a:lnTo>
                  <a:lnTo>
                    <a:pt x="2145" y="3636"/>
                  </a:lnTo>
                  <a:lnTo>
                    <a:pt x="2145" y="3636"/>
                  </a:lnTo>
                  <a:lnTo>
                    <a:pt x="2139" y="3634"/>
                  </a:lnTo>
                  <a:lnTo>
                    <a:pt x="2133" y="3634"/>
                  </a:lnTo>
                  <a:lnTo>
                    <a:pt x="2130" y="3637"/>
                  </a:lnTo>
                  <a:lnTo>
                    <a:pt x="2126" y="3642"/>
                  </a:lnTo>
                  <a:lnTo>
                    <a:pt x="2126" y="3642"/>
                  </a:lnTo>
                  <a:lnTo>
                    <a:pt x="2120" y="3654"/>
                  </a:lnTo>
                  <a:lnTo>
                    <a:pt x="2120" y="3654"/>
                  </a:lnTo>
                  <a:lnTo>
                    <a:pt x="2116" y="3657"/>
                  </a:lnTo>
                  <a:lnTo>
                    <a:pt x="2112" y="3661"/>
                  </a:lnTo>
                  <a:lnTo>
                    <a:pt x="2107" y="3664"/>
                  </a:lnTo>
                  <a:lnTo>
                    <a:pt x="2101" y="3664"/>
                  </a:lnTo>
                  <a:lnTo>
                    <a:pt x="2101" y="3664"/>
                  </a:lnTo>
                  <a:lnTo>
                    <a:pt x="2097" y="3663"/>
                  </a:lnTo>
                  <a:lnTo>
                    <a:pt x="2094" y="3660"/>
                  </a:lnTo>
                  <a:lnTo>
                    <a:pt x="2092" y="3651"/>
                  </a:lnTo>
                  <a:lnTo>
                    <a:pt x="2092" y="3651"/>
                  </a:lnTo>
                  <a:lnTo>
                    <a:pt x="2091" y="3646"/>
                  </a:lnTo>
                  <a:lnTo>
                    <a:pt x="2088" y="3643"/>
                  </a:lnTo>
                  <a:lnTo>
                    <a:pt x="2082" y="3639"/>
                  </a:lnTo>
                  <a:lnTo>
                    <a:pt x="2082" y="3639"/>
                  </a:lnTo>
                  <a:lnTo>
                    <a:pt x="2073" y="3634"/>
                  </a:lnTo>
                  <a:lnTo>
                    <a:pt x="2062" y="3630"/>
                  </a:lnTo>
                  <a:lnTo>
                    <a:pt x="2053" y="3625"/>
                  </a:lnTo>
                  <a:lnTo>
                    <a:pt x="2043" y="3624"/>
                  </a:lnTo>
                  <a:lnTo>
                    <a:pt x="2023" y="3619"/>
                  </a:lnTo>
                  <a:lnTo>
                    <a:pt x="2002" y="3618"/>
                  </a:lnTo>
                  <a:lnTo>
                    <a:pt x="2002" y="3618"/>
                  </a:lnTo>
                  <a:lnTo>
                    <a:pt x="1966" y="3615"/>
                  </a:lnTo>
                  <a:lnTo>
                    <a:pt x="1929" y="3612"/>
                  </a:lnTo>
                  <a:lnTo>
                    <a:pt x="1893" y="3609"/>
                  </a:lnTo>
                  <a:lnTo>
                    <a:pt x="1857" y="3604"/>
                  </a:lnTo>
                  <a:lnTo>
                    <a:pt x="1857" y="3604"/>
                  </a:lnTo>
                  <a:lnTo>
                    <a:pt x="1849" y="3602"/>
                  </a:lnTo>
                  <a:lnTo>
                    <a:pt x="1843" y="3601"/>
                  </a:lnTo>
                  <a:lnTo>
                    <a:pt x="1842" y="3599"/>
                  </a:lnTo>
                  <a:lnTo>
                    <a:pt x="1840" y="3596"/>
                  </a:lnTo>
                  <a:lnTo>
                    <a:pt x="1840" y="3593"/>
                  </a:lnTo>
                  <a:lnTo>
                    <a:pt x="1840" y="3589"/>
                  </a:lnTo>
                  <a:lnTo>
                    <a:pt x="1840" y="3589"/>
                  </a:lnTo>
                  <a:lnTo>
                    <a:pt x="1840" y="3584"/>
                  </a:lnTo>
                  <a:lnTo>
                    <a:pt x="1837" y="3581"/>
                  </a:lnTo>
                  <a:lnTo>
                    <a:pt x="1831" y="3581"/>
                  </a:lnTo>
                  <a:lnTo>
                    <a:pt x="1831" y="3581"/>
                  </a:lnTo>
                  <a:lnTo>
                    <a:pt x="1822" y="3578"/>
                  </a:lnTo>
                  <a:lnTo>
                    <a:pt x="1818" y="3574"/>
                  </a:lnTo>
                  <a:lnTo>
                    <a:pt x="1816" y="3571"/>
                  </a:lnTo>
                  <a:lnTo>
                    <a:pt x="1816" y="3568"/>
                  </a:lnTo>
                  <a:lnTo>
                    <a:pt x="1816" y="3563"/>
                  </a:lnTo>
                  <a:lnTo>
                    <a:pt x="1818" y="3559"/>
                  </a:lnTo>
                  <a:lnTo>
                    <a:pt x="1818" y="3559"/>
                  </a:lnTo>
                  <a:lnTo>
                    <a:pt x="1819" y="3554"/>
                  </a:lnTo>
                  <a:lnTo>
                    <a:pt x="1819" y="3551"/>
                  </a:lnTo>
                  <a:lnTo>
                    <a:pt x="1816" y="3550"/>
                  </a:lnTo>
                  <a:lnTo>
                    <a:pt x="1812" y="3548"/>
                  </a:lnTo>
                  <a:lnTo>
                    <a:pt x="1812" y="3548"/>
                  </a:lnTo>
                  <a:lnTo>
                    <a:pt x="1802" y="3547"/>
                  </a:lnTo>
                  <a:lnTo>
                    <a:pt x="1795" y="3544"/>
                  </a:lnTo>
                  <a:lnTo>
                    <a:pt x="1792" y="3541"/>
                  </a:lnTo>
                  <a:lnTo>
                    <a:pt x="1789" y="3538"/>
                  </a:lnTo>
                  <a:lnTo>
                    <a:pt x="1787" y="3534"/>
                  </a:lnTo>
                  <a:lnTo>
                    <a:pt x="1787" y="3528"/>
                  </a:lnTo>
                  <a:lnTo>
                    <a:pt x="1787" y="3528"/>
                  </a:lnTo>
                  <a:lnTo>
                    <a:pt x="1787" y="3522"/>
                  </a:lnTo>
                  <a:lnTo>
                    <a:pt x="1790" y="3519"/>
                  </a:lnTo>
                  <a:lnTo>
                    <a:pt x="1793" y="3516"/>
                  </a:lnTo>
                  <a:lnTo>
                    <a:pt x="1796" y="3513"/>
                  </a:lnTo>
                  <a:lnTo>
                    <a:pt x="1805" y="3510"/>
                  </a:lnTo>
                  <a:lnTo>
                    <a:pt x="1815" y="3509"/>
                  </a:lnTo>
                  <a:lnTo>
                    <a:pt x="1815" y="3509"/>
                  </a:lnTo>
                  <a:lnTo>
                    <a:pt x="1824" y="3507"/>
                  </a:lnTo>
                  <a:lnTo>
                    <a:pt x="1827" y="3506"/>
                  </a:lnTo>
                  <a:lnTo>
                    <a:pt x="1831" y="3501"/>
                  </a:lnTo>
                  <a:lnTo>
                    <a:pt x="1831" y="3501"/>
                  </a:lnTo>
                  <a:lnTo>
                    <a:pt x="1834" y="3497"/>
                  </a:lnTo>
                  <a:lnTo>
                    <a:pt x="1836" y="3494"/>
                  </a:lnTo>
                  <a:lnTo>
                    <a:pt x="1834" y="3489"/>
                  </a:lnTo>
                  <a:lnTo>
                    <a:pt x="1834" y="3489"/>
                  </a:lnTo>
                  <a:lnTo>
                    <a:pt x="1833" y="3486"/>
                  </a:lnTo>
                  <a:lnTo>
                    <a:pt x="1831" y="3486"/>
                  </a:lnTo>
                  <a:lnTo>
                    <a:pt x="1825" y="3486"/>
                  </a:lnTo>
                  <a:lnTo>
                    <a:pt x="1825" y="3486"/>
                  </a:lnTo>
                  <a:lnTo>
                    <a:pt x="1819" y="3485"/>
                  </a:lnTo>
                  <a:lnTo>
                    <a:pt x="1816" y="3483"/>
                  </a:lnTo>
                  <a:lnTo>
                    <a:pt x="1808" y="3479"/>
                  </a:lnTo>
                  <a:lnTo>
                    <a:pt x="1804" y="3471"/>
                  </a:lnTo>
                  <a:lnTo>
                    <a:pt x="1801" y="3464"/>
                  </a:lnTo>
                  <a:lnTo>
                    <a:pt x="1801" y="3464"/>
                  </a:lnTo>
                  <a:lnTo>
                    <a:pt x="1798" y="3456"/>
                  </a:lnTo>
                  <a:lnTo>
                    <a:pt x="1795" y="3450"/>
                  </a:lnTo>
                  <a:lnTo>
                    <a:pt x="1792" y="3445"/>
                  </a:lnTo>
                  <a:lnTo>
                    <a:pt x="1787" y="3441"/>
                  </a:lnTo>
                  <a:lnTo>
                    <a:pt x="1781" y="3438"/>
                  </a:lnTo>
                  <a:lnTo>
                    <a:pt x="1775" y="3435"/>
                  </a:lnTo>
                  <a:lnTo>
                    <a:pt x="1768" y="3433"/>
                  </a:lnTo>
                  <a:lnTo>
                    <a:pt x="1760" y="3433"/>
                  </a:lnTo>
                  <a:lnTo>
                    <a:pt x="1760" y="3433"/>
                  </a:lnTo>
                  <a:lnTo>
                    <a:pt x="1754" y="3433"/>
                  </a:lnTo>
                  <a:lnTo>
                    <a:pt x="1748" y="3432"/>
                  </a:lnTo>
                  <a:lnTo>
                    <a:pt x="1742" y="3429"/>
                  </a:lnTo>
                  <a:lnTo>
                    <a:pt x="1738" y="3426"/>
                  </a:lnTo>
                  <a:lnTo>
                    <a:pt x="1728" y="3418"/>
                  </a:lnTo>
                  <a:lnTo>
                    <a:pt x="1719" y="3408"/>
                  </a:lnTo>
                  <a:lnTo>
                    <a:pt x="1719" y="3408"/>
                  </a:lnTo>
                  <a:lnTo>
                    <a:pt x="1698" y="3385"/>
                  </a:lnTo>
                  <a:lnTo>
                    <a:pt x="1677" y="3362"/>
                  </a:lnTo>
                  <a:lnTo>
                    <a:pt x="1677" y="3362"/>
                  </a:lnTo>
                  <a:lnTo>
                    <a:pt x="1670" y="3355"/>
                  </a:lnTo>
                  <a:lnTo>
                    <a:pt x="1659" y="3350"/>
                  </a:lnTo>
                  <a:lnTo>
                    <a:pt x="1648" y="3347"/>
                  </a:lnTo>
                  <a:lnTo>
                    <a:pt x="1638" y="3347"/>
                  </a:lnTo>
                  <a:lnTo>
                    <a:pt x="1638" y="3347"/>
                  </a:lnTo>
                  <a:lnTo>
                    <a:pt x="1626" y="3347"/>
                  </a:lnTo>
                  <a:lnTo>
                    <a:pt x="1615" y="3346"/>
                  </a:lnTo>
                  <a:lnTo>
                    <a:pt x="1608" y="3343"/>
                  </a:lnTo>
                  <a:lnTo>
                    <a:pt x="1602" y="3340"/>
                  </a:lnTo>
                  <a:lnTo>
                    <a:pt x="1597" y="3334"/>
                  </a:lnTo>
                  <a:lnTo>
                    <a:pt x="1593" y="3326"/>
                  </a:lnTo>
                  <a:lnTo>
                    <a:pt x="1590" y="3317"/>
                  </a:lnTo>
                  <a:lnTo>
                    <a:pt x="1588" y="3305"/>
                  </a:lnTo>
                  <a:lnTo>
                    <a:pt x="1588" y="3305"/>
                  </a:lnTo>
                  <a:lnTo>
                    <a:pt x="1582" y="3267"/>
                  </a:lnTo>
                  <a:lnTo>
                    <a:pt x="1582" y="3267"/>
                  </a:lnTo>
                  <a:lnTo>
                    <a:pt x="1582" y="3263"/>
                  </a:lnTo>
                  <a:lnTo>
                    <a:pt x="1579" y="3258"/>
                  </a:lnTo>
                  <a:lnTo>
                    <a:pt x="1576" y="3255"/>
                  </a:lnTo>
                  <a:lnTo>
                    <a:pt x="1571" y="3255"/>
                  </a:lnTo>
                  <a:lnTo>
                    <a:pt x="1571" y="3255"/>
                  </a:lnTo>
                  <a:lnTo>
                    <a:pt x="1565" y="3255"/>
                  </a:lnTo>
                  <a:lnTo>
                    <a:pt x="1561" y="3254"/>
                  </a:lnTo>
                  <a:lnTo>
                    <a:pt x="1556" y="3251"/>
                  </a:lnTo>
                  <a:lnTo>
                    <a:pt x="1553" y="3249"/>
                  </a:lnTo>
                  <a:lnTo>
                    <a:pt x="1549" y="3240"/>
                  </a:lnTo>
                  <a:lnTo>
                    <a:pt x="1546" y="3231"/>
                  </a:lnTo>
                  <a:lnTo>
                    <a:pt x="1546" y="3231"/>
                  </a:lnTo>
                  <a:lnTo>
                    <a:pt x="1541" y="3213"/>
                  </a:lnTo>
                  <a:lnTo>
                    <a:pt x="1538" y="3193"/>
                  </a:lnTo>
                  <a:lnTo>
                    <a:pt x="1538" y="3193"/>
                  </a:lnTo>
                  <a:lnTo>
                    <a:pt x="1534" y="3183"/>
                  </a:lnTo>
                  <a:lnTo>
                    <a:pt x="1531" y="3180"/>
                  </a:lnTo>
                  <a:lnTo>
                    <a:pt x="1528" y="3177"/>
                  </a:lnTo>
                  <a:lnTo>
                    <a:pt x="1525" y="3177"/>
                  </a:lnTo>
                  <a:lnTo>
                    <a:pt x="1520" y="3177"/>
                  </a:lnTo>
                  <a:lnTo>
                    <a:pt x="1510" y="3180"/>
                  </a:lnTo>
                  <a:lnTo>
                    <a:pt x="1510" y="3180"/>
                  </a:lnTo>
                  <a:lnTo>
                    <a:pt x="1497" y="3184"/>
                  </a:lnTo>
                  <a:lnTo>
                    <a:pt x="1488" y="3187"/>
                  </a:lnTo>
                  <a:lnTo>
                    <a:pt x="1478" y="3189"/>
                  </a:lnTo>
                  <a:lnTo>
                    <a:pt x="1470" y="3186"/>
                  </a:lnTo>
                  <a:lnTo>
                    <a:pt x="1463" y="3181"/>
                  </a:lnTo>
                  <a:lnTo>
                    <a:pt x="1455" y="3172"/>
                  </a:lnTo>
                  <a:lnTo>
                    <a:pt x="1449" y="3160"/>
                  </a:lnTo>
                  <a:lnTo>
                    <a:pt x="1443" y="3142"/>
                  </a:lnTo>
                  <a:lnTo>
                    <a:pt x="1443" y="3142"/>
                  </a:lnTo>
                  <a:lnTo>
                    <a:pt x="1439" y="3122"/>
                  </a:lnTo>
                  <a:lnTo>
                    <a:pt x="1434" y="3104"/>
                  </a:lnTo>
                  <a:lnTo>
                    <a:pt x="1434" y="3104"/>
                  </a:lnTo>
                  <a:lnTo>
                    <a:pt x="1433" y="3098"/>
                  </a:lnTo>
                  <a:lnTo>
                    <a:pt x="1431" y="3095"/>
                  </a:lnTo>
                  <a:lnTo>
                    <a:pt x="1430" y="3093"/>
                  </a:lnTo>
                  <a:lnTo>
                    <a:pt x="1427" y="3093"/>
                  </a:lnTo>
                  <a:lnTo>
                    <a:pt x="1420" y="3096"/>
                  </a:lnTo>
                  <a:lnTo>
                    <a:pt x="1420" y="3096"/>
                  </a:lnTo>
                  <a:lnTo>
                    <a:pt x="1417" y="3099"/>
                  </a:lnTo>
                  <a:lnTo>
                    <a:pt x="1413" y="3099"/>
                  </a:lnTo>
                  <a:lnTo>
                    <a:pt x="1410" y="3099"/>
                  </a:lnTo>
                  <a:lnTo>
                    <a:pt x="1407" y="3098"/>
                  </a:lnTo>
                  <a:lnTo>
                    <a:pt x="1402" y="3093"/>
                  </a:lnTo>
                  <a:lnTo>
                    <a:pt x="1399" y="3087"/>
                  </a:lnTo>
                  <a:lnTo>
                    <a:pt x="1399" y="3087"/>
                  </a:lnTo>
                  <a:lnTo>
                    <a:pt x="1392" y="3071"/>
                  </a:lnTo>
                  <a:lnTo>
                    <a:pt x="1387" y="3065"/>
                  </a:lnTo>
                  <a:lnTo>
                    <a:pt x="1381" y="3059"/>
                  </a:lnTo>
                  <a:lnTo>
                    <a:pt x="1375" y="3056"/>
                  </a:lnTo>
                  <a:lnTo>
                    <a:pt x="1369" y="3053"/>
                  </a:lnTo>
                  <a:lnTo>
                    <a:pt x="1360" y="3053"/>
                  </a:lnTo>
                  <a:lnTo>
                    <a:pt x="1350" y="3056"/>
                  </a:lnTo>
                  <a:lnTo>
                    <a:pt x="1350" y="3056"/>
                  </a:lnTo>
                  <a:lnTo>
                    <a:pt x="1348" y="3056"/>
                  </a:lnTo>
                  <a:lnTo>
                    <a:pt x="1345" y="3054"/>
                  </a:lnTo>
                  <a:lnTo>
                    <a:pt x="1345" y="3054"/>
                  </a:lnTo>
                  <a:lnTo>
                    <a:pt x="1330" y="3053"/>
                  </a:lnTo>
                  <a:lnTo>
                    <a:pt x="1324" y="3053"/>
                  </a:lnTo>
                  <a:lnTo>
                    <a:pt x="1321" y="3054"/>
                  </a:lnTo>
                  <a:lnTo>
                    <a:pt x="1319" y="3056"/>
                  </a:lnTo>
                  <a:lnTo>
                    <a:pt x="1318" y="3060"/>
                  </a:lnTo>
                  <a:lnTo>
                    <a:pt x="1316" y="3077"/>
                  </a:lnTo>
                  <a:lnTo>
                    <a:pt x="1316" y="3077"/>
                  </a:lnTo>
                  <a:lnTo>
                    <a:pt x="1315" y="3086"/>
                  </a:lnTo>
                  <a:lnTo>
                    <a:pt x="1313" y="3089"/>
                  </a:lnTo>
                  <a:lnTo>
                    <a:pt x="1310" y="3092"/>
                  </a:lnTo>
                  <a:lnTo>
                    <a:pt x="1307" y="3093"/>
                  </a:lnTo>
                  <a:lnTo>
                    <a:pt x="1303" y="3093"/>
                  </a:lnTo>
                  <a:lnTo>
                    <a:pt x="1294" y="3093"/>
                  </a:lnTo>
                  <a:lnTo>
                    <a:pt x="1294" y="3093"/>
                  </a:lnTo>
                  <a:lnTo>
                    <a:pt x="1283" y="3089"/>
                  </a:lnTo>
                  <a:lnTo>
                    <a:pt x="1276" y="3084"/>
                  </a:lnTo>
                  <a:lnTo>
                    <a:pt x="1266" y="3080"/>
                  </a:lnTo>
                  <a:lnTo>
                    <a:pt x="1259" y="3072"/>
                  </a:lnTo>
                  <a:lnTo>
                    <a:pt x="1259" y="3072"/>
                  </a:lnTo>
                  <a:lnTo>
                    <a:pt x="1239" y="3054"/>
                  </a:lnTo>
                  <a:lnTo>
                    <a:pt x="1229" y="3047"/>
                  </a:lnTo>
                  <a:lnTo>
                    <a:pt x="1218" y="3038"/>
                  </a:lnTo>
                  <a:lnTo>
                    <a:pt x="1218" y="3038"/>
                  </a:lnTo>
                  <a:lnTo>
                    <a:pt x="1212" y="3033"/>
                  </a:lnTo>
                  <a:lnTo>
                    <a:pt x="1208" y="3027"/>
                  </a:lnTo>
                  <a:lnTo>
                    <a:pt x="1205" y="3019"/>
                  </a:lnTo>
                  <a:lnTo>
                    <a:pt x="1203" y="3012"/>
                  </a:lnTo>
                  <a:lnTo>
                    <a:pt x="1203" y="3012"/>
                  </a:lnTo>
                  <a:lnTo>
                    <a:pt x="1203" y="2997"/>
                  </a:lnTo>
                  <a:lnTo>
                    <a:pt x="1203" y="2989"/>
                  </a:lnTo>
                  <a:lnTo>
                    <a:pt x="1205" y="2982"/>
                  </a:lnTo>
                  <a:lnTo>
                    <a:pt x="1205" y="2982"/>
                  </a:lnTo>
                  <a:lnTo>
                    <a:pt x="1206" y="2970"/>
                  </a:lnTo>
                  <a:lnTo>
                    <a:pt x="1208" y="2959"/>
                  </a:lnTo>
                  <a:lnTo>
                    <a:pt x="1206" y="2947"/>
                  </a:lnTo>
                  <a:lnTo>
                    <a:pt x="1203" y="2938"/>
                  </a:lnTo>
                  <a:lnTo>
                    <a:pt x="1200" y="2927"/>
                  </a:lnTo>
                  <a:lnTo>
                    <a:pt x="1194" y="2918"/>
                  </a:lnTo>
                  <a:lnTo>
                    <a:pt x="1188" y="2909"/>
                  </a:lnTo>
                  <a:lnTo>
                    <a:pt x="1180" y="2900"/>
                  </a:lnTo>
                  <a:lnTo>
                    <a:pt x="1180" y="2900"/>
                  </a:lnTo>
                  <a:lnTo>
                    <a:pt x="1165" y="2882"/>
                  </a:lnTo>
                  <a:lnTo>
                    <a:pt x="1147" y="2867"/>
                  </a:lnTo>
                  <a:lnTo>
                    <a:pt x="1129" y="2852"/>
                  </a:lnTo>
                  <a:lnTo>
                    <a:pt x="1109" y="2837"/>
                  </a:lnTo>
                  <a:lnTo>
                    <a:pt x="1109" y="2837"/>
                  </a:lnTo>
                  <a:lnTo>
                    <a:pt x="1102" y="2834"/>
                  </a:lnTo>
                  <a:lnTo>
                    <a:pt x="1096" y="2832"/>
                  </a:lnTo>
                  <a:lnTo>
                    <a:pt x="1088" y="2832"/>
                  </a:lnTo>
                  <a:lnTo>
                    <a:pt x="1081" y="2835"/>
                  </a:lnTo>
                  <a:lnTo>
                    <a:pt x="1081" y="2835"/>
                  </a:lnTo>
                  <a:lnTo>
                    <a:pt x="1073" y="2838"/>
                  </a:lnTo>
                  <a:lnTo>
                    <a:pt x="1066" y="2840"/>
                  </a:lnTo>
                  <a:lnTo>
                    <a:pt x="1058" y="2840"/>
                  </a:lnTo>
                  <a:lnTo>
                    <a:pt x="1049" y="2840"/>
                  </a:lnTo>
                  <a:lnTo>
                    <a:pt x="1042" y="2838"/>
                  </a:lnTo>
                  <a:lnTo>
                    <a:pt x="1034" y="2835"/>
                  </a:lnTo>
                  <a:lnTo>
                    <a:pt x="1020" y="2828"/>
                  </a:lnTo>
                  <a:lnTo>
                    <a:pt x="1008" y="2817"/>
                  </a:lnTo>
                  <a:lnTo>
                    <a:pt x="1004" y="2811"/>
                  </a:lnTo>
                  <a:lnTo>
                    <a:pt x="999" y="2805"/>
                  </a:lnTo>
                  <a:lnTo>
                    <a:pt x="996" y="2797"/>
                  </a:lnTo>
                  <a:lnTo>
                    <a:pt x="993" y="2790"/>
                  </a:lnTo>
                  <a:lnTo>
                    <a:pt x="992" y="2782"/>
                  </a:lnTo>
                  <a:lnTo>
                    <a:pt x="992" y="2775"/>
                  </a:lnTo>
                  <a:lnTo>
                    <a:pt x="992" y="2775"/>
                  </a:lnTo>
                  <a:lnTo>
                    <a:pt x="990" y="2760"/>
                  </a:lnTo>
                  <a:lnTo>
                    <a:pt x="989" y="2754"/>
                  </a:lnTo>
                  <a:lnTo>
                    <a:pt x="986" y="2749"/>
                  </a:lnTo>
                  <a:lnTo>
                    <a:pt x="983" y="2745"/>
                  </a:lnTo>
                  <a:lnTo>
                    <a:pt x="978" y="2740"/>
                  </a:lnTo>
                  <a:lnTo>
                    <a:pt x="974" y="2735"/>
                  </a:lnTo>
                  <a:lnTo>
                    <a:pt x="968" y="2732"/>
                  </a:lnTo>
                  <a:lnTo>
                    <a:pt x="968" y="2732"/>
                  </a:lnTo>
                  <a:lnTo>
                    <a:pt x="957" y="2728"/>
                  </a:lnTo>
                  <a:lnTo>
                    <a:pt x="948" y="2722"/>
                  </a:lnTo>
                  <a:lnTo>
                    <a:pt x="939" y="2714"/>
                  </a:lnTo>
                  <a:lnTo>
                    <a:pt x="933" y="2707"/>
                  </a:lnTo>
                  <a:lnTo>
                    <a:pt x="927" y="2698"/>
                  </a:lnTo>
                  <a:lnTo>
                    <a:pt x="922" y="2687"/>
                  </a:lnTo>
                  <a:lnTo>
                    <a:pt x="918" y="2677"/>
                  </a:lnTo>
                  <a:lnTo>
                    <a:pt x="916" y="2666"/>
                  </a:lnTo>
                  <a:lnTo>
                    <a:pt x="916" y="2666"/>
                  </a:lnTo>
                  <a:lnTo>
                    <a:pt x="913" y="2654"/>
                  </a:lnTo>
                  <a:lnTo>
                    <a:pt x="907" y="2645"/>
                  </a:lnTo>
                  <a:lnTo>
                    <a:pt x="898" y="2637"/>
                  </a:lnTo>
                  <a:lnTo>
                    <a:pt x="888" y="2633"/>
                  </a:lnTo>
                  <a:lnTo>
                    <a:pt x="888" y="2633"/>
                  </a:lnTo>
                  <a:lnTo>
                    <a:pt x="874" y="2627"/>
                  </a:lnTo>
                  <a:lnTo>
                    <a:pt x="874" y="2627"/>
                  </a:lnTo>
                  <a:lnTo>
                    <a:pt x="868" y="2622"/>
                  </a:lnTo>
                  <a:lnTo>
                    <a:pt x="862" y="2618"/>
                  </a:lnTo>
                  <a:lnTo>
                    <a:pt x="859" y="2613"/>
                  </a:lnTo>
                  <a:lnTo>
                    <a:pt x="856" y="2609"/>
                  </a:lnTo>
                  <a:lnTo>
                    <a:pt x="853" y="2603"/>
                  </a:lnTo>
                  <a:lnTo>
                    <a:pt x="853" y="2597"/>
                  </a:lnTo>
                  <a:lnTo>
                    <a:pt x="853" y="2590"/>
                  </a:lnTo>
                  <a:lnTo>
                    <a:pt x="853" y="2581"/>
                  </a:lnTo>
                  <a:lnTo>
                    <a:pt x="853" y="2581"/>
                  </a:lnTo>
                  <a:lnTo>
                    <a:pt x="856" y="2572"/>
                  </a:lnTo>
                  <a:lnTo>
                    <a:pt x="856" y="2565"/>
                  </a:lnTo>
                  <a:lnTo>
                    <a:pt x="854" y="2562"/>
                  </a:lnTo>
                  <a:lnTo>
                    <a:pt x="851" y="2559"/>
                  </a:lnTo>
                  <a:lnTo>
                    <a:pt x="847" y="2557"/>
                  </a:lnTo>
                  <a:lnTo>
                    <a:pt x="839" y="2556"/>
                  </a:lnTo>
                  <a:lnTo>
                    <a:pt x="839" y="2556"/>
                  </a:lnTo>
                  <a:lnTo>
                    <a:pt x="835" y="2554"/>
                  </a:lnTo>
                  <a:lnTo>
                    <a:pt x="832" y="2551"/>
                  </a:lnTo>
                  <a:lnTo>
                    <a:pt x="823" y="2544"/>
                  </a:lnTo>
                  <a:lnTo>
                    <a:pt x="823" y="2544"/>
                  </a:lnTo>
                  <a:lnTo>
                    <a:pt x="798" y="2515"/>
                  </a:lnTo>
                  <a:lnTo>
                    <a:pt x="798" y="2515"/>
                  </a:lnTo>
                  <a:lnTo>
                    <a:pt x="788" y="2506"/>
                  </a:lnTo>
                  <a:lnTo>
                    <a:pt x="776" y="2498"/>
                  </a:lnTo>
                  <a:lnTo>
                    <a:pt x="762" y="2494"/>
                  </a:lnTo>
                  <a:lnTo>
                    <a:pt x="747" y="2491"/>
                  </a:lnTo>
                  <a:lnTo>
                    <a:pt x="747" y="2491"/>
                  </a:lnTo>
                  <a:lnTo>
                    <a:pt x="740" y="2489"/>
                  </a:lnTo>
                  <a:lnTo>
                    <a:pt x="734" y="2491"/>
                  </a:lnTo>
                  <a:lnTo>
                    <a:pt x="732" y="2492"/>
                  </a:lnTo>
                  <a:lnTo>
                    <a:pt x="730" y="2494"/>
                  </a:lnTo>
                  <a:lnTo>
                    <a:pt x="730" y="2498"/>
                  </a:lnTo>
                  <a:lnTo>
                    <a:pt x="732" y="2504"/>
                  </a:lnTo>
                  <a:lnTo>
                    <a:pt x="732" y="2504"/>
                  </a:lnTo>
                  <a:lnTo>
                    <a:pt x="734" y="2510"/>
                  </a:lnTo>
                  <a:lnTo>
                    <a:pt x="730" y="2513"/>
                  </a:lnTo>
                  <a:lnTo>
                    <a:pt x="726" y="2516"/>
                  </a:lnTo>
                  <a:lnTo>
                    <a:pt x="720" y="2518"/>
                  </a:lnTo>
                  <a:lnTo>
                    <a:pt x="720" y="2518"/>
                  </a:lnTo>
                  <a:lnTo>
                    <a:pt x="700" y="2516"/>
                  </a:lnTo>
                  <a:lnTo>
                    <a:pt x="681" y="2515"/>
                  </a:lnTo>
                  <a:lnTo>
                    <a:pt x="661" y="2510"/>
                  </a:lnTo>
                  <a:lnTo>
                    <a:pt x="641" y="2503"/>
                  </a:lnTo>
                  <a:lnTo>
                    <a:pt x="641" y="2503"/>
                  </a:lnTo>
                  <a:lnTo>
                    <a:pt x="634" y="2498"/>
                  </a:lnTo>
                  <a:lnTo>
                    <a:pt x="626" y="2494"/>
                  </a:lnTo>
                  <a:lnTo>
                    <a:pt x="619" y="2489"/>
                  </a:lnTo>
                  <a:lnTo>
                    <a:pt x="614" y="2483"/>
                  </a:lnTo>
                  <a:lnTo>
                    <a:pt x="610" y="2476"/>
                  </a:lnTo>
                  <a:lnTo>
                    <a:pt x="607" y="2468"/>
                  </a:lnTo>
                  <a:lnTo>
                    <a:pt x="604" y="2459"/>
                  </a:lnTo>
                  <a:lnTo>
                    <a:pt x="604" y="2450"/>
                  </a:lnTo>
                  <a:lnTo>
                    <a:pt x="604" y="2450"/>
                  </a:lnTo>
                  <a:lnTo>
                    <a:pt x="602" y="2438"/>
                  </a:lnTo>
                  <a:lnTo>
                    <a:pt x="601" y="2427"/>
                  </a:lnTo>
                  <a:lnTo>
                    <a:pt x="596" y="2418"/>
                  </a:lnTo>
                  <a:lnTo>
                    <a:pt x="592" y="2409"/>
                  </a:lnTo>
                  <a:lnTo>
                    <a:pt x="584" y="2402"/>
                  </a:lnTo>
                  <a:lnTo>
                    <a:pt x="578" y="2394"/>
                  </a:lnTo>
                  <a:lnTo>
                    <a:pt x="560" y="2381"/>
                  </a:lnTo>
                  <a:lnTo>
                    <a:pt x="560" y="2381"/>
                  </a:lnTo>
                  <a:lnTo>
                    <a:pt x="552" y="2376"/>
                  </a:lnTo>
                  <a:lnTo>
                    <a:pt x="543" y="2374"/>
                  </a:lnTo>
                  <a:lnTo>
                    <a:pt x="527" y="2371"/>
                  </a:lnTo>
                  <a:lnTo>
                    <a:pt x="527" y="2371"/>
                  </a:lnTo>
                  <a:lnTo>
                    <a:pt x="518" y="2370"/>
                  </a:lnTo>
                  <a:lnTo>
                    <a:pt x="510" y="2365"/>
                  </a:lnTo>
                  <a:lnTo>
                    <a:pt x="504" y="2361"/>
                  </a:lnTo>
                  <a:lnTo>
                    <a:pt x="499" y="2355"/>
                  </a:lnTo>
                  <a:lnTo>
                    <a:pt x="499" y="2355"/>
                  </a:lnTo>
                  <a:lnTo>
                    <a:pt x="493" y="2344"/>
                  </a:lnTo>
                  <a:lnTo>
                    <a:pt x="489" y="2334"/>
                  </a:lnTo>
                  <a:lnTo>
                    <a:pt x="486" y="2323"/>
                  </a:lnTo>
                  <a:lnTo>
                    <a:pt x="483" y="2313"/>
                  </a:lnTo>
                  <a:lnTo>
                    <a:pt x="483" y="2302"/>
                  </a:lnTo>
                  <a:lnTo>
                    <a:pt x="483" y="2291"/>
                  </a:lnTo>
                  <a:lnTo>
                    <a:pt x="484" y="2281"/>
                  </a:lnTo>
                  <a:lnTo>
                    <a:pt x="487" y="2269"/>
                  </a:lnTo>
                  <a:lnTo>
                    <a:pt x="487" y="2269"/>
                  </a:lnTo>
                  <a:lnTo>
                    <a:pt x="490" y="2261"/>
                  </a:lnTo>
                  <a:lnTo>
                    <a:pt x="490" y="2261"/>
                  </a:lnTo>
                  <a:lnTo>
                    <a:pt x="496" y="2243"/>
                  </a:lnTo>
                  <a:lnTo>
                    <a:pt x="496" y="2237"/>
                  </a:lnTo>
                  <a:lnTo>
                    <a:pt x="495" y="2233"/>
                  </a:lnTo>
                  <a:lnTo>
                    <a:pt x="492" y="2228"/>
                  </a:lnTo>
                  <a:lnTo>
                    <a:pt x="487" y="2226"/>
                  </a:lnTo>
                  <a:lnTo>
                    <a:pt x="469" y="2222"/>
                  </a:lnTo>
                  <a:lnTo>
                    <a:pt x="469" y="2222"/>
                  </a:lnTo>
                  <a:lnTo>
                    <a:pt x="457" y="2217"/>
                  </a:lnTo>
                  <a:lnTo>
                    <a:pt x="448" y="2211"/>
                  </a:lnTo>
                  <a:lnTo>
                    <a:pt x="441" y="2204"/>
                  </a:lnTo>
                  <a:lnTo>
                    <a:pt x="436" y="2192"/>
                  </a:lnTo>
                  <a:lnTo>
                    <a:pt x="436" y="2192"/>
                  </a:lnTo>
                  <a:lnTo>
                    <a:pt x="432" y="2178"/>
                  </a:lnTo>
                  <a:lnTo>
                    <a:pt x="429" y="2163"/>
                  </a:lnTo>
                  <a:lnTo>
                    <a:pt x="427" y="2133"/>
                  </a:lnTo>
                  <a:lnTo>
                    <a:pt x="427" y="2133"/>
                  </a:lnTo>
                  <a:lnTo>
                    <a:pt x="422" y="2104"/>
                  </a:lnTo>
                  <a:lnTo>
                    <a:pt x="422" y="2104"/>
                  </a:lnTo>
                  <a:lnTo>
                    <a:pt x="421" y="2098"/>
                  </a:lnTo>
                  <a:lnTo>
                    <a:pt x="419" y="2092"/>
                  </a:lnTo>
                  <a:lnTo>
                    <a:pt x="416" y="2091"/>
                  </a:lnTo>
                  <a:lnTo>
                    <a:pt x="413" y="2091"/>
                  </a:lnTo>
                  <a:lnTo>
                    <a:pt x="406" y="2091"/>
                  </a:lnTo>
                  <a:lnTo>
                    <a:pt x="406" y="2091"/>
                  </a:lnTo>
                  <a:lnTo>
                    <a:pt x="397" y="2092"/>
                  </a:lnTo>
                  <a:lnTo>
                    <a:pt x="394" y="2091"/>
                  </a:lnTo>
                  <a:lnTo>
                    <a:pt x="391" y="2089"/>
                  </a:lnTo>
                  <a:lnTo>
                    <a:pt x="388" y="2083"/>
                  </a:lnTo>
                  <a:lnTo>
                    <a:pt x="385" y="2075"/>
                  </a:lnTo>
                  <a:lnTo>
                    <a:pt x="385" y="2075"/>
                  </a:lnTo>
                  <a:lnTo>
                    <a:pt x="385" y="2063"/>
                  </a:lnTo>
                  <a:lnTo>
                    <a:pt x="385" y="2053"/>
                  </a:lnTo>
                  <a:lnTo>
                    <a:pt x="388" y="2030"/>
                  </a:lnTo>
                  <a:lnTo>
                    <a:pt x="388" y="2030"/>
                  </a:lnTo>
                  <a:lnTo>
                    <a:pt x="389" y="2017"/>
                  </a:lnTo>
                  <a:lnTo>
                    <a:pt x="389" y="2007"/>
                  </a:lnTo>
                  <a:lnTo>
                    <a:pt x="388" y="1998"/>
                  </a:lnTo>
                  <a:lnTo>
                    <a:pt x="385" y="1992"/>
                  </a:lnTo>
                  <a:lnTo>
                    <a:pt x="380" y="1988"/>
                  </a:lnTo>
                  <a:lnTo>
                    <a:pt x="373" y="1983"/>
                  </a:lnTo>
                  <a:lnTo>
                    <a:pt x="362" y="1982"/>
                  </a:lnTo>
                  <a:lnTo>
                    <a:pt x="350" y="1979"/>
                  </a:lnTo>
                  <a:lnTo>
                    <a:pt x="350" y="1979"/>
                  </a:lnTo>
                  <a:lnTo>
                    <a:pt x="336" y="1976"/>
                  </a:lnTo>
                  <a:lnTo>
                    <a:pt x="324" y="1970"/>
                  </a:lnTo>
                  <a:lnTo>
                    <a:pt x="311" y="1961"/>
                  </a:lnTo>
                  <a:lnTo>
                    <a:pt x="300" y="1952"/>
                  </a:lnTo>
                  <a:lnTo>
                    <a:pt x="290" y="1939"/>
                  </a:lnTo>
                  <a:lnTo>
                    <a:pt x="281" y="1927"/>
                  </a:lnTo>
                  <a:lnTo>
                    <a:pt x="275" y="1914"/>
                  </a:lnTo>
                  <a:lnTo>
                    <a:pt x="272" y="1900"/>
                  </a:lnTo>
                  <a:lnTo>
                    <a:pt x="272" y="1900"/>
                  </a:lnTo>
                  <a:lnTo>
                    <a:pt x="272" y="1891"/>
                  </a:lnTo>
                  <a:lnTo>
                    <a:pt x="272" y="1884"/>
                  </a:lnTo>
                  <a:lnTo>
                    <a:pt x="273" y="1878"/>
                  </a:lnTo>
                  <a:lnTo>
                    <a:pt x="275" y="1872"/>
                  </a:lnTo>
                  <a:lnTo>
                    <a:pt x="279" y="1867"/>
                  </a:lnTo>
                  <a:lnTo>
                    <a:pt x="284" y="1862"/>
                  </a:lnTo>
                  <a:lnTo>
                    <a:pt x="291" y="1858"/>
                  </a:lnTo>
                  <a:lnTo>
                    <a:pt x="299" y="1855"/>
                  </a:lnTo>
                  <a:lnTo>
                    <a:pt x="299" y="1855"/>
                  </a:lnTo>
                  <a:lnTo>
                    <a:pt x="321" y="1847"/>
                  </a:lnTo>
                  <a:lnTo>
                    <a:pt x="321" y="1847"/>
                  </a:lnTo>
                  <a:lnTo>
                    <a:pt x="333" y="1843"/>
                  </a:lnTo>
                  <a:lnTo>
                    <a:pt x="338" y="1838"/>
                  </a:lnTo>
                  <a:lnTo>
                    <a:pt x="341" y="1835"/>
                  </a:lnTo>
                  <a:lnTo>
                    <a:pt x="342" y="1831"/>
                  </a:lnTo>
                  <a:lnTo>
                    <a:pt x="344" y="1826"/>
                  </a:lnTo>
                  <a:lnTo>
                    <a:pt x="342" y="1813"/>
                  </a:lnTo>
                  <a:lnTo>
                    <a:pt x="342" y="1813"/>
                  </a:lnTo>
                  <a:lnTo>
                    <a:pt x="341" y="1799"/>
                  </a:lnTo>
                  <a:lnTo>
                    <a:pt x="339" y="1785"/>
                  </a:lnTo>
                  <a:lnTo>
                    <a:pt x="339" y="1785"/>
                  </a:lnTo>
                  <a:lnTo>
                    <a:pt x="341" y="1776"/>
                  </a:lnTo>
                  <a:lnTo>
                    <a:pt x="344" y="1769"/>
                  </a:lnTo>
                  <a:lnTo>
                    <a:pt x="345" y="1766"/>
                  </a:lnTo>
                  <a:lnTo>
                    <a:pt x="350" y="1763"/>
                  </a:lnTo>
                  <a:lnTo>
                    <a:pt x="353" y="1761"/>
                  </a:lnTo>
                  <a:lnTo>
                    <a:pt x="359" y="1760"/>
                  </a:lnTo>
                  <a:lnTo>
                    <a:pt x="359" y="1760"/>
                  </a:lnTo>
                  <a:lnTo>
                    <a:pt x="362" y="1760"/>
                  </a:lnTo>
                  <a:lnTo>
                    <a:pt x="365" y="1758"/>
                  </a:lnTo>
                  <a:lnTo>
                    <a:pt x="367" y="1757"/>
                  </a:lnTo>
                  <a:lnTo>
                    <a:pt x="367" y="1752"/>
                  </a:lnTo>
                  <a:lnTo>
                    <a:pt x="367" y="1752"/>
                  </a:lnTo>
                  <a:lnTo>
                    <a:pt x="365" y="1746"/>
                  </a:lnTo>
                  <a:lnTo>
                    <a:pt x="365" y="1742"/>
                  </a:lnTo>
                  <a:lnTo>
                    <a:pt x="368" y="1731"/>
                  </a:lnTo>
                  <a:lnTo>
                    <a:pt x="374" y="1722"/>
                  </a:lnTo>
                  <a:lnTo>
                    <a:pt x="380" y="1714"/>
                  </a:lnTo>
                  <a:lnTo>
                    <a:pt x="380" y="1714"/>
                  </a:lnTo>
                  <a:lnTo>
                    <a:pt x="394" y="1696"/>
                  </a:lnTo>
                  <a:lnTo>
                    <a:pt x="409" y="1678"/>
                  </a:lnTo>
                  <a:lnTo>
                    <a:pt x="409" y="1678"/>
                  </a:lnTo>
                  <a:lnTo>
                    <a:pt x="413" y="1672"/>
                  </a:lnTo>
                  <a:lnTo>
                    <a:pt x="416" y="1666"/>
                  </a:lnTo>
                  <a:lnTo>
                    <a:pt x="416" y="1660"/>
                  </a:lnTo>
                  <a:lnTo>
                    <a:pt x="416" y="1656"/>
                  </a:lnTo>
                  <a:lnTo>
                    <a:pt x="413" y="1651"/>
                  </a:lnTo>
                  <a:lnTo>
                    <a:pt x="410" y="1646"/>
                  </a:lnTo>
                  <a:lnTo>
                    <a:pt x="406" y="1643"/>
                  </a:lnTo>
                  <a:lnTo>
                    <a:pt x="398" y="1640"/>
                  </a:lnTo>
                  <a:lnTo>
                    <a:pt x="398" y="1640"/>
                  </a:lnTo>
                  <a:lnTo>
                    <a:pt x="382" y="1636"/>
                  </a:lnTo>
                  <a:lnTo>
                    <a:pt x="364" y="1630"/>
                  </a:lnTo>
                  <a:lnTo>
                    <a:pt x="364" y="1630"/>
                  </a:lnTo>
                  <a:lnTo>
                    <a:pt x="356" y="1625"/>
                  </a:lnTo>
                  <a:lnTo>
                    <a:pt x="350" y="1621"/>
                  </a:lnTo>
                  <a:lnTo>
                    <a:pt x="345" y="1615"/>
                  </a:lnTo>
                  <a:lnTo>
                    <a:pt x="344" y="1609"/>
                  </a:lnTo>
                  <a:lnTo>
                    <a:pt x="344" y="1603"/>
                  </a:lnTo>
                  <a:lnTo>
                    <a:pt x="345" y="1597"/>
                  </a:lnTo>
                  <a:lnTo>
                    <a:pt x="350" y="1591"/>
                  </a:lnTo>
                  <a:lnTo>
                    <a:pt x="356" y="1585"/>
                  </a:lnTo>
                  <a:lnTo>
                    <a:pt x="356" y="1585"/>
                  </a:lnTo>
                  <a:lnTo>
                    <a:pt x="361" y="1579"/>
                  </a:lnTo>
                  <a:lnTo>
                    <a:pt x="364" y="1574"/>
                  </a:lnTo>
                  <a:lnTo>
                    <a:pt x="367" y="1568"/>
                  </a:lnTo>
                  <a:lnTo>
                    <a:pt x="367" y="1563"/>
                  </a:lnTo>
                  <a:lnTo>
                    <a:pt x="365" y="1559"/>
                  </a:lnTo>
                  <a:lnTo>
                    <a:pt x="362" y="1556"/>
                  </a:lnTo>
                  <a:lnTo>
                    <a:pt x="358" y="1551"/>
                  </a:lnTo>
                  <a:lnTo>
                    <a:pt x="350" y="1547"/>
                  </a:lnTo>
                  <a:lnTo>
                    <a:pt x="350" y="1547"/>
                  </a:lnTo>
                  <a:lnTo>
                    <a:pt x="345" y="1545"/>
                  </a:lnTo>
                  <a:lnTo>
                    <a:pt x="341" y="1545"/>
                  </a:lnTo>
                  <a:lnTo>
                    <a:pt x="335" y="1551"/>
                  </a:lnTo>
                  <a:lnTo>
                    <a:pt x="335" y="1551"/>
                  </a:lnTo>
                  <a:lnTo>
                    <a:pt x="330" y="1554"/>
                  </a:lnTo>
                  <a:lnTo>
                    <a:pt x="324" y="1557"/>
                  </a:lnTo>
                  <a:lnTo>
                    <a:pt x="320" y="1559"/>
                  </a:lnTo>
                  <a:lnTo>
                    <a:pt x="314" y="1556"/>
                  </a:lnTo>
                  <a:lnTo>
                    <a:pt x="314" y="1556"/>
                  </a:lnTo>
                  <a:lnTo>
                    <a:pt x="309" y="1553"/>
                  </a:lnTo>
                  <a:lnTo>
                    <a:pt x="306" y="1547"/>
                  </a:lnTo>
                  <a:lnTo>
                    <a:pt x="306" y="1542"/>
                  </a:lnTo>
                  <a:lnTo>
                    <a:pt x="308" y="1536"/>
                  </a:lnTo>
                  <a:lnTo>
                    <a:pt x="308" y="1536"/>
                  </a:lnTo>
                  <a:lnTo>
                    <a:pt x="309" y="1532"/>
                  </a:lnTo>
                  <a:lnTo>
                    <a:pt x="308" y="1527"/>
                  </a:lnTo>
                  <a:lnTo>
                    <a:pt x="305" y="1524"/>
                  </a:lnTo>
                  <a:lnTo>
                    <a:pt x="300" y="1523"/>
                  </a:lnTo>
                  <a:lnTo>
                    <a:pt x="300" y="1523"/>
                  </a:lnTo>
                  <a:lnTo>
                    <a:pt x="273" y="1515"/>
                  </a:lnTo>
                  <a:lnTo>
                    <a:pt x="273" y="1515"/>
                  </a:lnTo>
                  <a:lnTo>
                    <a:pt x="264" y="1512"/>
                  </a:lnTo>
                  <a:lnTo>
                    <a:pt x="256" y="1509"/>
                  </a:lnTo>
                  <a:lnTo>
                    <a:pt x="249" y="1503"/>
                  </a:lnTo>
                  <a:lnTo>
                    <a:pt x="243" y="1497"/>
                  </a:lnTo>
                  <a:lnTo>
                    <a:pt x="243" y="1497"/>
                  </a:lnTo>
                  <a:lnTo>
                    <a:pt x="240" y="1489"/>
                  </a:lnTo>
                  <a:lnTo>
                    <a:pt x="235" y="1485"/>
                  </a:lnTo>
                  <a:lnTo>
                    <a:pt x="232" y="1482"/>
                  </a:lnTo>
                  <a:lnTo>
                    <a:pt x="229" y="1482"/>
                  </a:lnTo>
                  <a:lnTo>
                    <a:pt x="225" y="1482"/>
                  </a:lnTo>
                  <a:lnTo>
                    <a:pt x="219" y="1483"/>
                  </a:lnTo>
                  <a:lnTo>
                    <a:pt x="219" y="1483"/>
                  </a:lnTo>
                  <a:lnTo>
                    <a:pt x="217" y="1483"/>
                  </a:lnTo>
                  <a:lnTo>
                    <a:pt x="214" y="1483"/>
                  </a:lnTo>
                  <a:lnTo>
                    <a:pt x="211" y="1480"/>
                  </a:lnTo>
                  <a:lnTo>
                    <a:pt x="208" y="1474"/>
                  </a:lnTo>
                  <a:lnTo>
                    <a:pt x="208" y="1468"/>
                  </a:lnTo>
                  <a:lnTo>
                    <a:pt x="208" y="1468"/>
                  </a:lnTo>
                  <a:lnTo>
                    <a:pt x="208" y="1459"/>
                  </a:lnTo>
                  <a:lnTo>
                    <a:pt x="207" y="1458"/>
                  </a:lnTo>
                  <a:lnTo>
                    <a:pt x="205" y="1455"/>
                  </a:lnTo>
                  <a:lnTo>
                    <a:pt x="199" y="1453"/>
                  </a:lnTo>
                  <a:lnTo>
                    <a:pt x="191" y="1452"/>
                  </a:lnTo>
                  <a:lnTo>
                    <a:pt x="191" y="1452"/>
                  </a:lnTo>
                  <a:lnTo>
                    <a:pt x="178" y="1453"/>
                  </a:lnTo>
                  <a:lnTo>
                    <a:pt x="170" y="1452"/>
                  </a:lnTo>
                  <a:lnTo>
                    <a:pt x="164" y="1450"/>
                  </a:lnTo>
                  <a:lnTo>
                    <a:pt x="164" y="1450"/>
                  </a:lnTo>
                  <a:lnTo>
                    <a:pt x="155" y="1446"/>
                  </a:lnTo>
                  <a:lnTo>
                    <a:pt x="152" y="1443"/>
                  </a:lnTo>
                  <a:lnTo>
                    <a:pt x="151" y="1440"/>
                  </a:lnTo>
                  <a:lnTo>
                    <a:pt x="151" y="1437"/>
                  </a:lnTo>
                  <a:lnTo>
                    <a:pt x="151" y="1432"/>
                  </a:lnTo>
                  <a:lnTo>
                    <a:pt x="152" y="1429"/>
                  </a:lnTo>
                  <a:lnTo>
                    <a:pt x="155" y="1424"/>
                  </a:lnTo>
                  <a:lnTo>
                    <a:pt x="155" y="1424"/>
                  </a:lnTo>
                  <a:lnTo>
                    <a:pt x="160" y="1418"/>
                  </a:lnTo>
                  <a:lnTo>
                    <a:pt x="161" y="1415"/>
                  </a:lnTo>
                  <a:lnTo>
                    <a:pt x="161" y="1412"/>
                  </a:lnTo>
                  <a:lnTo>
                    <a:pt x="158" y="1408"/>
                  </a:lnTo>
                  <a:lnTo>
                    <a:pt x="152" y="1405"/>
                  </a:lnTo>
                  <a:lnTo>
                    <a:pt x="152" y="1405"/>
                  </a:lnTo>
                  <a:lnTo>
                    <a:pt x="118" y="1384"/>
                  </a:lnTo>
                  <a:lnTo>
                    <a:pt x="118" y="1384"/>
                  </a:lnTo>
                  <a:lnTo>
                    <a:pt x="107" y="1375"/>
                  </a:lnTo>
                  <a:lnTo>
                    <a:pt x="99" y="1366"/>
                  </a:lnTo>
                  <a:lnTo>
                    <a:pt x="93" y="1355"/>
                  </a:lnTo>
                  <a:lnTo>
                    <a:pt x="89" y="1343"/>
                  </a:lnTo>
                  <a:lnTo>
                    <a:pt x="89" y="1331"/>
                  </a:lnTo>
                  <a:lnTo>
                    <a:pt x="90" y="1319"/>
                  </a:lnTo>
                  <a:lnTo>
                    <a:pt x="95" y="1307"/>
                  </a:lnTo>
                  <a:lnTo>
                    <a:pt x="101" y="1295"/>
                  </a:lnTo>
                  <a:lnTo>
                    <a:pt x="101" y="1295"/>
                  </a:lnTo>
                  <a:lnTo>
                    <a:pt x="107" y="1285"/>
                  </a:lnTo>
                  <a:lnTo>
                    <a:pt x="110" y="1276"/>
                  </a:lnTo>
                  <a:lnTo>
                    <a:pt x="111" y="1266"/>
                  </a:lnTo>
                  <a:lnTo>
                    <a:pt x="110" y="1257"/>
                  </a:lnTo>
                  <a:lnTo>
                    <a:pt x="107" y="1249"/>
                  </a:lnTo>
                  <a:lnTo>
                    <a:pt x="101" y="1242"/>
                  </a:lnTo>
                  <a:lnTo>
                    <a:pt x="93" y="1236"/>
                  </a:lnTo>
                  <a:lnTo>
                    <a:pt x="84" y="1230"/>
                  </a:lnTo>
                  <a:lnTo>
                    <a:pt x="84" y="1230"/>
                  </a:lnTo>
                  <a:lnTo>
                    <a:pt x="74" y="1225"/>
                  </a:lnTo>
                  <a:lnTo>
                    <a:pt x="66" y="1218"/>
                  </a:lnTo>
                  <a:lnTo>
                    <a:pt x="63" y="1213"/>
                  </a:lnTo>
                  <a:lnTo>
                    <a:pt x="62" y="1208"/>
                  </a:lnTo>
                  <a:lnTo>
                    <a:pt x="60" y="1202"/>
                  </a:lnTo>
                  <a:lnTo>
                    <a:pt x="60" y="1196"/>
                  </a:lnTo>
                  <a:lnTo>
                    <a:pt x="60" y="1196"/>
                  </a:lnTo>
                  <a:lnTo>
                    <a:pt x="60" y="1189"/>
                  </a:lnTo>
                  <a:lnTo>
                    <a:pt x="57" y="1184"/>
                  </a:lnTo>
                  <a:lnTo>
                    <a:pt x="53" y="1183"/>
                  </a:lnTo>
                  <a:lnTo>
                    <a:pt x="45" y="1183"/>
                  </a:lnTo>
                  <a:lnTo>
                    <a:pt x="45" y="1183"/>
                  </a:lnTo>
                  <a:lnTo>
                    <a:pt x="34" y="1183"/>
                  </a:lnTo>
                  <a:lnTo>
                    <a:pt x="25" y="1181"/>
                  </a:lnTo>
                  <a:lnTo>
                    <a:pt x="16" y="1177"/>
                  </a:lnTo>
                  <a:lnTo>
                    <a:pt x="9" y="1171"/>
                  </a:lnTo>
                  <a:lnTo>
                    <a:pt x="9" y="1171"/>
                  </a:lnTo>
                  <a:lnTo>
                    <a:pt x="4" y="1166"/>
                  </a:lnTo>
                  <a:lnTo>
                    <a:pt x="1" y="1162"/>
                  </a:lnTo>
                  <a:lnTo>
                    <a:pt x="0" y="1157"/>
                  </a:lnTo>
                  <a:lnTo>
                    <a:pt x="0" y="1153"/>
                  </a:lnTo>
                  <a:lnTo>
                    <a:pt x="0" y="1148"/>
                  </a:lnTo>
                  <a:lnTo>
                    <a:pt x="3" y="1144"/>
                  </a:lnTo>
                  <a:lnTo>
                    <a:pt x="6" y="1139"/>
                  </a:lnTo>
                  <a:lnTo>
                    <a:pt x="10" y="1136"/>
                  </a:lnTo>
                  <a:lnTo>
                    <a:pt x="10" y="1136"/>
                  </a:lnTo>
                  <a:lnTo>
                    <a:pt x="21" y="1130"/>
                  </a:lnTo>
                  <a:lnTo>
                    <a:pt x="31" y="1125"/>
                  </a:lnTo>
                  <a:lnTo>
                    <a:pt x="31" y="1125"/>
                  </a:lnTo>
                  <a:lnTo>
                    <a:pt x="42" y="1119"/>
                  </a:lnTo>
                  <a:lnTo>
                    <a:pt x="44" y="1118"/>
                  </a:lnTo>
                  <a:lnTo>
                    <a:pt x="45" y="1115"/>
                  </a:lnTo>
                  <a:lnTo>
                    <a:pt x="45" y="1110"/>
                  </a:lnTo>
                  <a:lnTo>
                    <a:pt x="45" y="1107"/>
                  </a:lnTo>
                  <a:lnTo>
                    <a:pt x="39" y="1098"/>
                  </a:lnTo>
                  <a:lnTo>
                    <a:pt x="39" y="1098"/>
                  </a:lnTo>
                  <a:lnTo>
                    <a:pt x="30" y="1086"/>
                  </a:lnTo>
                  <a:lnTo>
                    <a:pt x="21" y="1076"/>
                  </a:lnTo>
                  <a:lnTo>
                    <a:pt x="21" y="1076"/>
                  </a:lnTo>
                  <a:lnTo>
                    <a:pt x="16" y="1069"/>
                  </a:lnTo>
                  <a:lnTo>
                    <a:pt x="15" y="1063"/>
                  </a:lnTo>
                  <a:lnTo>
                    <a:pt x="13" y="1057"/>
                  </a:lnTo>
                  <a:lnTo>
                    <a:pt x="15" y="1051"/>
                  </a:lnTo>
                  <a:lnTo>
                    <a:pt x="16" y="1047"/>
                  </a:lnTo>
                  <a:lnTo>
                    <a:pt x="21" y="1042"/>
                  </a:lnTo>
                  <a:lnTo>
                    <a:pt x="25" y="1038"/>
                  </a:lnTo>
                  <a:lnTo>
                    <a:pt x="31" y="1035"/>
                  </a:lnTo>
                  <a:lnTo>
                    <a:pt x="31" y="1035"/>
                  </a:lnTo>
                  <a:lnTo>
                    <a:pt x="39" y="1032"/>
                  </a:lnTo>
                  <a:lnTo>
                    <a:pt x="47" y="1029"/>
                  </a:lnTo>
                  <a:lnTo>
                    <a:pt x="54" y="1029"/>
                  </a:lnTo>
                  <a:lnTo>
                    <a:pt x="62" y="1029"/>
                  </a:lnTo>
                  <a:lnTo>
                    <a:pt x="69" y="1029"/>
                  </a:lnTo>
                  <a:lnTo>
                    <a:pt x="75" y="1032"/>
                  </a:lnTo>
                  <a:lnTo>
                    <a:pt x="89" y="1038"/>
                  </a:lnTo>
                  <a:lnTo>
                    <a:pt x="99" y="1047"/>
                  </a:lnTo>
                  <a:lnTo>
                    <a:pt x="104" y="1051"/>
                  </a:lnTo>
                  <a:lnTo>
                    <a:pt x="108" y="1057"/>
                  </a:lnTo>
                  <a:lnTo>
                    <a:pt x="110" y="1065"/>
                  </a:lnTo>
                  <a:lnTo>
                    <a:pt x="113" y="1073"/>
                  </a:lnTo>
                  <a:lnTo>
                    <a:pt x="114" y="1080"/>
                  </a:lnTo>
                  <a:lnTo>
                    <a:pt x="114" y="1088"/>
                  </a:lnTo>
                  <a:lnTo>
                    <a:pt x="114" y="1088"/>
                  </a:lnTo>
                  <a:lnTo>
                    <a:pt x="113" y="1104"/>
                  </a:lnTo>
                  <a:lnTo>
                    <a:pt x="113" y="1104"/>
                  </a:lnTo>
                  <a:lnTo>
                    <a:pt x="114" y="1112"/>
                  </a:lnTo>
                  <a:lnTo>
                    <a:pt x="119" y="1116"/>
                  </a:lnTo>
                  <a:lnTo>
                    <a:pt x="124" y="1119"/>
                  </a:lnTo>
                  <a:lnTo>
                    <a:pt x="133" y="1121"/>
                  </a:lnTo>
                  <a:lnTo>
                    <a:pt x="133" y="1121"/>
                  </a:lnTo>
                  <a:lnTo>
                    <a:pt x="146" y="1118"/>
                  </a:lnTo>
                  <a:lnTo>
                    <a:pt x="152" y="1118"/>
                  </a:lnTo>
                  <a:lnTo>
                    <a:pt x="160" y="1119"/>
                  </a:lnTo>
                  <a:lnTo>
                    <a:pt x="160" y="1119"/>
                  </a:lnTo>
                  <a:lnTo>
                    <a:pt x="167" y="1122"/>
                  </a:lnTo>
                  <a:lnTo>
                    <a:pt x="172" y="1127"/>
                  </a:lnTo>
                  <a:lnTo>
                    <a:pt x="176" y="1133"/>
                  </a:lnTo>
                  <a:lnTo>
                    <a:pt x="178" y="1139"/>
                  </a:lnTo>
                  <a:lnTo>
                    <a:pt x="178" y="1139"/>
                  </a:lnTo>
                  <a:lnTo>
                    <a:pt x="178" y="1147"/>
                  </a:lnTo>
                  <a:lnTo>
                    <a:pt x="175" y="1151"/>
                  </a:lnTo>
                  <a:lnTo>
                    <a:pt x="172" y="1156"/>
                  </a:lnTo>
                  <a:lnTo>
                    <a:pt x="166" y="1159"/>
                  </a:lnTo>
                  <a:lnTo>
                    <a:pt x="166" y="1159"/>
                  </a:lnTo>
                  <a:lnTo>
                    <a:pt x="160" y="1162"/>
                  </a:lnTo>
                  <a:lnTo>
                    <a:pt x="158" y="1163"/>
                  </a:lnTo>
                  <a:lnTo>
                    <a:pt x="158" y="1165"/>
                  </a:lnTo>
                  <a:lnTo>
                    <a:pt x="161" y="1169"/>
                  </a:lnTo>
                  <a:lnTo>
                    <a:pt x="166" y="1172"/>
                  </a:lnTo>
                  <a:lnTo>
                    <a:pt x="166" y="1172"/>
                  </a:lnTo>
                  <a:lnTo>
                    <a:pt x="178" y="1178"/>
                  </a:lnTo>
                  <a:lnTo>
                    <a:pt x="190" y="1186"/>
                  </a:lnTo>
                  <a:lnTo>
                    <a:pt x="190" y="1186"/>
                  </a:lnTo>
                  <a:lnTo>
                    <a:pt x="196" y="1190"/>
                  </a:lnTo>
                  <a:lnTo>
                    <a:pt x="199" y="1193"/>
                  </a:lnTo>
                  <a:lnTo>
                    <a:pt x="202" y="1198"/>
                  </a:lnTo>
                  <a:lnTo>
                    <a:pt x="202" y="1202"/>
                  </a:lnTo>
                  <a:lnTo>
                    <a:pt x="202" y="1207"/>
                  </a:lnTo>
                  <a:lnTo>
                    <a:pt x="202" y="1211"/>
                  </a:lnTo>
                  <a:lnTo>
                    <a:pt x="199" y="1218"/>
                  </a:lnTo>
                  <a:lnTo>
                    <a:pt x="196" y="1222"/>
                  </a:lnTo>
                  <a:lnTo>
                    <a:pt x="196" y="1222"/>
                  </a:lnTo>
                  <a:lnTo>
                    <a:pt x="191" y="1230"/>
                  </a:lnTo>
                  <a:lnTo>
                    <a:pt x="188" y="1237"/>
                  </a:lnTo>
                  <a:lnTo>
                    <a:pt x="188" y="1245"/>
                  </a:lnTo>
                  <a:lnTo>
                    <a:pt x="190" y="1252"/>
                  </a:lnTo>
                  <a:lnTo>
                    <a:pt x="195" y="1258"/>
                  </a:lnTo>
                  <a:lnTo>
                    <a:pt x="199" y="1264"/>
                  </a:lnTo>
                  <a:lnTo>
                    <a:pt x="207" y="1267"/>
                  </a:lnTo>
                  <a:lnTo>
                    <a:pt x="216" y="1270"/>
                  </a:lnTo>
                  <a:lnTo>
                    <a:pt x="216" y="1270"/>
                  </a:lnTo>
                  <a:lnTo>
                    <a:pt x="220" y="1269"/>
                  </a:lnTo>
                  <a:lnTo>
                    <a:pt x="223" y="1267"/>
                  </a:lnTo>
                  <a:lnTo>
                    <a:pt x="223" y="1264"/>
                  </a:lnTo>
                  <a:lnTo>
                    <a:pt x="225" y="1261"/>
                  </a:lnTo>
                  <a:lnTo>
                    <a:pt x="225" y="1261"/>
                  </a:lnTo>
                  <a:lnTo>
                    <a:pt x="226" y="1251"/>
                  </a:lnTo>
                  <a:lnTo>
                    <a:pt x="226" y="1240"/>
                  </a:lnTo>
                  <a:lnTo>
                    <a:pt x="223" y="1219"/>
                  </a:lnTo>
                  <a:lnTo>
                    <a:pt x="223" y="1219"/>
                  </a:lnTo>
                  <a:lnTo>
                    <a:pt x="222" y="1201"/>
                  </a:lnTo>
                  <a:lnTo>
                    <a:pt x="222" y="1183"/>
                  </a:lnTo>
                  <a:lnTo>
                    <a:pt x="222" y="1183"/>
                  </a:lnTo>
                  <a:lnTo>
                    <a:pt x="222" y="1175"/>
                  </a:lnTo>
                  <a:lnTo>
                    <a:pt x="223" y="1168"/>
                  </a:lnTo>
                  <a:lnTo>
                    <a:pt x="226" y="1165"/>
                  </a:lnTo>
                  <a:lnTo>
                    <a:pt x="229" y="1163"/>
                  </a:lnTo>
                  <a:lnTo>
                    <a:pt x="232" y="1162"/>
                  </a:lnTo>
                  <a:lnTo>
                    <a:pt x="238" y="1162"/>
                  </a:lnTo>
                  <a:lnTo>
                    <a:pt x="238" y="1162"/>
                  </a:lnTo>
                  <a:lnTo>
                    <a:pt x="241" y="1162"/>
                  </a:lnTo>
                  <a:lnTo>
                    <a:pt x="243" y="1159"/>
                  </a:lnTo>
                  <a:lnTo>
                    <a:pt x="241" y="1154"/>
                  </a:lnTo>
                  <a:lnTo>
                    <a:pt x="241" y="1154"/>
                  </a:lnTo>
                  <a:lnTo>
                    <a:pt x="243" y="1147"/>
                  </a:lnTo>
                  <a:lnTo>
                    <a:pt x="246" y="1137"/>
                  </a:lnTo>
                  <a:lnTo>
                    <a:pt x="252" y="1128"/>
                  </a:lnTo>
                  <a:lnTo>
                    <a:pt x="256" y="1119"/>
                  </a:lnTo>
                  <a:lnTo>
                    <a:pt x="264" y="1112"/>
                  </a:lnTo>
                  <a:lnTo>
                    <a:pt x="272" y="1104"/>
                  </a:lnTo>
                  <a:lnTo>
                    <a:pt x="279" y="1098"/>
                  </a:lnTo>
                  <a:lnTo>
                    <a:pt x="285" y="1095"/>
                  </a:lnTo>
                  <a:lnTo>
                    <a:pt x="285" y="1095"/>
                  </a:lnTo>
                  <a:lnTo>
                    <a:pt x="288" y="1094"/>
                  </a:lnTo>
                  <a:lnTo>
                    <a:pt x="290" y="1092"/>
                  </a:lnTo>
                  <a:lnTo>
                    <a:pt x="291" y="1089"/>
                  </a:lnTo>
                  <a:lnTo>
                    <a:pt x="290" y="1086"/>
                  </a:lnTo>
                  <a:lnTo>
                    <a:pt x="290" y="1086"/>
                  </a:lnTo>
                  <a:lnTo>
                    <a:pt x="287" y="1069"/>
                  </a:lnTo>
                  <a:lnTo>
                    <a:pt x="287" y="1069"/>
                  </a:lnTo>
                  <a:lnTo>
                    <a:pt x="287" y="1065"/>
                  </a:lnTo>
                  <a:lnTo>
                    <a:pt x="288" y="1059"/>
                  </a:lnTo>
                  <a:lnTo>
                    <a:pt x="290" y="1056"/>
                  </a:lnTo>
                  <a:lnTo>
                    <a:pt x="291" y="1053"/>
                  </a:lnTo>
                  <a:lnTo>
                    <a:pt x="296" y="1050"/>
                  </a:lnTo>
                  <a:lnTo>
                    <a:pt x="299" y="1048"/>
                  </a:lnTo>
                  <a:lnTo>
                    <a:pt x="303" y="1048"/>
                  </a:lnTo>
                  <a:lnTo>
                    <a:pt x="309" y="1048"/>
                  </a:lnTo>
                  <a:lnTo>
                    <a:pt x="309" y="1048"/>
                  </a:lnTo>
                  <a:lnTo>
                    <a:pt x="318" y="1048"/>
                  </a:lnTo>
                  <a:lnTo>
                    <a:pt x="326" y="1047"/>
                  </a:lnTo>
                  <a:lnTo>
                    <a:pt x="330" y="1041"/>
                  </a:lnTo>
                  <a:lnTo>
                    <a:pt x="335" y="1035"/>
                  </a:lnTo>
                  <a:lnTo>
                    <a:pt x="335" y="1035"/>
                  </a:lnTo>
                  <a:lnTo>
                    <a:pt x="352" y="1009"/>
                  </a:lnTo>
                  <a:lnTo>
                    <a:pt x="352" y="1009"/>
                  </a:lnTo>
                  <a:lnTo>
                    <a:pt x="356" y="1006"/>
                  </a:lnTo>
                  <a:lnTo>
                    <a:pt x="359" y="1003"/>
                  </a:lnTo>
                  <a:lnTo>
                    <a:pt x="364" y="1002"/>
                  </a:lnTo>
                  <a:lnTo>
                    <a:pt x="368" y="1002"/>
                  </a:lnTo>
                  <a:lnTo>
                    <a:pt x="368" y="1002"/>
                  </a:lnTo>
                  <a:lnTo>
                    <a:pt x="376" y="1005"/>
                  </a:lnTo>
                  <a:lnTo>
                    <a:pt x="377" y="1005"/>
                  </a:lnTo>
                  <a:lnTo>
                    <a:pt x="380" y="1003"/>
                  </a:lnTo>
                  <a:lnTo>
                    <a:pt x="382" y="999"/>
                  </a:lnTo>
                  <a:lnTo>
                    <a:pt x="383" y="992"/>
                  </a:lnTo>
                  <a:lnTo>
                    <a:pt x="383" y="992"/>
                  </a:lnTo>
                  <a:lnTo>
                    <a:pt x="385" y="976"/>
                  </a:lnTo>
                  <a:lnTo>
                    <a:pt x="388" y="964"/>
                  </a:lnTo>
                  <a:lnTo>
                    <a:pt x="392" y="955"/>
                  </a:lnTo>
                  <a:lnTo>
                    <a:pt x="398" y="946"/>
                  </a:lnTo>
                  <a:lnTo>
                    <a:pt x="406" y="940"/>
                  </a:lnTo>
                  <a:lnTo>
                    <a:pt x="415" y="935"/>
                  </a:lnTo>
                  <a:lnTo>
                    <a:pt x="427" y="931"/>
                  </a:lnTo>
                  <a:lnTo>
                    <a:pt x="442" y="928"/>
                  </a:lnTo>
                  <a:lnTo>
                    <a:pt x="442" y="928"/>
                  </a:lnTo>
                  <a:lnTo>
                    <a:pt x="456" y="924"/>
                  </a:lnTo>
                  <a:lnTo>
                    <a:pt x="468" y="923"/>
                  </a:lnTo>
                  <a:lnTo>
                    <a:pt x="493" y="923"/>
                  </a:lnTo>
                  <a:lnTo>
                    <a:pt x="493" y="923"/>
                  </a:lnTo>
                  <a:lnTo>
                    <a:pt x="518" y="923"/>
                  </a:lnTo>
                  <a:lnTo>
                    <a:pt x="530" y="921"/>
                  </a:lnTo>
                  <a:lnTo>
                    <a:pt x="542" y="918"/>
                  </a:lnTo>
                  <a:lnTo>
                    <a:pt x="542" y="918"/>
                  </a:lnTo>
                  <a:lnTo>
                    <a:pt x="548" y="915"/>
                  </a:lnTo>
                  <a:lnTo>
                    <a:pt x="552" y="915"/>
                  </a:lnTo>
                  <a:lnTo>
                    <a:pt x="557" y="917"/>
                  </a:lnTo>
                  <a:lnTo>
                    <a:pt x="561" y="918"/>
                  </a:lnTo>
                  <a:lnTo>
                    <a:pt x="569" y="924"/>
                  </a:lnTo>
                  <a:lnTo>
                    <a:pt x="575" y="934"/>
                  </a:lnTo>
                  <a:lnTo>
                    <a:pt x="575" y="934"/>
                  </a:lnTo>
                  <a:lnTo>
                    <a:pt x="580" y="940"/>
                  </a:lnTo>
                  <a:lnTo>
                    <a:pt x="581" y="943"/>
                  </a:lnTo>
                  <a:lnTo>
                    <a:pt x="586" y="943"/>
                  </a:lnTo>
                  <a:lnTo>
                    <a:pt x="586" y="943"/>
                  </a:lnTo>
                  <a:lnTo>
                    <a:pt x="589" y="943"/>
                  </a:lnTo>
                  <a:lnTo>
                    <a:pt x="590" y="940"/>
                  </a:lnTo>
                  <a:lnTo>
                    <a:pt x="593" y="932"/>
                  </a:lnTo>
                  <a:lnTo>
                    <a:pt x="593" y="932"/>
                  </a:lnTo>
                  <a:lnTo>
                    <a:pt x="599" y="917"/>
                  </a:lnTo>
                  <a:lnTo>
                    <a:pt x="605" y="905"/>
                  </a:lnTo>
                  <a:lnTo>
                    <a:pt x="613" y="896"/>
                  </a:lnTo>
                  <a:lnTo>
                    <a:pt x="622" y="887"/>
                  </a:lnTo>
                  <a:lnTo>
                    <a:pt x="632" y="881"/>
                  </a:lnTo>
                  <a:lnTo>
                    <a:pt x="644" y="876"/>
                  </a:lnTo>
                  <a:lnTo>
                    <a:pt x="658" y="873"/>
                  </a:lnTo>
                  <a:lnTo>
                    <a:pt x="675" y="872"/>
                  </a:lnTo>
                  <a:lnTo>
                    <a:pt x="675" y="872"/>
                  </a:lnTo>
                  <a:lnTo>
                    <a:pt x="678" y="872"/>
                  </a:lnTo>
                  <a:lnTo>
                    <a:pt x="679" y="870"/>
                  </a:lnTo>
                  <a:lnTo>
                    <a:pt x="682" y="866"/>
                  </a:lnTo>
                  <a:lnTo>
                    <a:pt x="682" y="866"/>
                  </a:lnTo>
                  <a:lnTo>
                    <a:pt x="684" y="861"/>
                  </a:lnTo>
                  <a:lnTo>
                    <a:pt x="685" y="858"/>
                  </a:lnTo>
                  <a:lnTo>
                    <a:pt x="688" y="855"/>
                  </a:lnTo>
                  <a:lnTo>
                    <a:pt x="691" y="855"/>
                  </a:lnTo>
                  <a:lnTo>
                    <a:pt x="699" y="855"/>
                  </a:lnTo>
                  <a:lnTo>
                    <a:pt x="706" y="858"/>
                  </a:lnTo>
                  <a:lnTo>
                    <a:pt x="706" y="858"/>
                  </a:lnTo>
                  <a:lnTo>
                    <a:pt x="724" y="869"/>
                  </a:lnTo>
                  <a:lnTo>
                    <a:pt x="743" y="881"/>
                  </a:lnTo>
                  <a:lnTo>
                    <a:pt x="758" y="896"/>
                  </a:lnTo>
                  <a:lnTo>
                    <a:pt x="774" y="909"/>
                  </a:lnTo>
                  <a:lnTo>
                    <a:pt x="774" y="909"/>
                  </a:lnTo>
                  <a:lnTo>
                    <a:pt x="783" y="918"/>
                  </a:lnTo>
                  <a:lnTo>
                    <a:pt x="788" y="921"/>
                  </a:lnTo>
                  <a:lnTo>
                    <a:pt x="792" y="924"/>
                  </a:lnTo>
                  <a:lnTo>
                    <a:pt x="798" y="928"/>
                  </a:lnTo>
                  <a:lnTo>
                    <a:pt x="804" y="928"/>
                  </a:lnTo>
                  <a:lnTo>
                    <a:pt x="812" y="928"/>
                  </a:lnTo>
                  <a:lnTo>
                    <a:pt x="820" y="924"/>
                  </a:lnTo>
                  <a:lnTo>
                    <a:pt x="820" y="924"/>
                  </a:lnTo>
                  <a:lnTo>
                    <a:pt x="833" y="918"/>
                  </a:lnTo>
                  <a:lnTo>
                    <a:pt x="845" y="912"/>
                  </a:lnTo>
                  <a:lnTo>
                    <a:pt x="854" y="906"/>
                  </a:lnTo>
                  <a:lnTo>
                    <a:pt x="862" y="899"/>
                  </a:lnTo>
                  <a:lnTo>
                    <a:pt x="868" y="890"/>
                  </a:lnTo>
                  <a:lnTo>
                    <a:pt x="871" y="881"/>
                  </a:lnTo>
                  <a:lnTo>
                    <a:pt x="872" y="867"/>
                  </a:lnTo>
                  <a:lnTo>
                    <a:pt x="874" y="854"/>
                  </a:lnTo>
                  <a:lnTo>
                    <a:pt x="874" y="854"/>
                  </a:lnTo>
                  <a:lnTo>
                    <a:pt x="872" y="828"/>
                  </a:lnTo>
                  <a:lnTo>
                    <a:pt x="874" y="816"/>
                  </a:lnTo>
                  <a:lnTo>
                    <a:pt x="878" y="804"/>
                  </a:lnTo>
                  <a:lnTo>
                    <a:pt x="878" y="804"/>
                  </a:lnTo>
                  <a:lnTo>
                    <a:pt x="881" y="796"/>
                  </a:lnTo>
                  <a:lnTo>
                    <a:pt x="884" y="792"/>
                  </a:lnTo>
                  <a:lnTo>
                    <a:pt x="889" y="787"/>
                  </a:lnTo>
                  <a:lnTo>
                    <a:pt x="894" y="784"/>
                  </a:lnTo>
                  <a:lnTo>
                    <a:pt x="898" y="784"/>
                  </a:lnTo>
                  <a:lnTo>
                    <a:pt x="903" y="784"/>
                  </a:lnTo>
                  <a:lnTo>
                    <a:pt x="909" y="786"/>
                  </a:lnTo>
                  <a:lnTo>
                    <a:pt x="915" y="790"/>
                  </a:lnTo>
                  <a:lnTo>
                    <a:pt x="915" y="790"/>
                  </a:lnTo>
                  <a:lnTo>
                    <a:pt x="922" y="795"/>
                  </a:lnTo>
                  <a:lnTo>
                    <a:pt x="928" y="798"/>
                  </a:lnTo>
                  <a:lnTo>
                    <a:pt x="936" y="799"/>
                  </a:lnTo>
                  <a:lnTo>
                    <a:pt x="942" y="799"/>
                  </a:lnTo>
                  <a:lnTo>
                    <a:pt x="948" y="798"/>
                  </a:lnTo>
                  <a:lnTo>
                    <a:pt x="954" y="795"/>
                  </a:lnTo>
                  <a:lnTo>
                    <a:pt x="960" y="792"/>
                  </a:lnTo>
                  <a:lnTo>
                    <a:pt x="965" y="786"/>
                  </a:lnTo>
                  <a:lnTo>
                    <a:pt x="965" y="786"/>
                  </a:lnTo>
                  <a:lnTo>
                    <a:pt x="972" y="779"/>
                  </a:lnTo>
                  <a:lnTo>
                    <a:pt x="981" y="776"/>
                  </a:lnTo>
                  <a:lnTo>
                    <a:pt x="981" y="776"/>
                  </a:lnTo>
                  <a:lnTo>
                    <a:pt x="987" y="775"/>
                  </a:lnTo>
                  <a:lnTo>
                    <a:pt x="992" y="776"/>
                  </a:lnTo>
                  <a:lnTo>
                    <a:pt x="995" y="779"/>
                  </a:lnTo>
                  <a:lnTo>
                    <a:pt x="996" y="786"/>
                  </a:lnTo>
                  <a:lnTo>
                    <a:pt x="996" y="786"/>
                  </a:lnTo>
                  <a:lnTo>
                    <a:pt x="998" y="790"/>
                  </a:lnTo>
                  <a:lnTo>
                    <a:pt x="999" y="795"/>
                  </a:lnTo>
                  <a:lnTo>
                    <a:pt x="1001" y="798"/>
                  </a:lnTo>
                  <a:lnTo>
                    <a:pt x="1004" y="799"/>
                  </a:lnTo>
                  <a:lnTo>
                    <a:pt x="1011" y="801"/>
                  </a:lnTo>
                  <a:lnTo>
                    <a:pt x="1019" y="802"/>
                  </a:lnTo>
                  <a:lnTo>
                    <a:pt x="1019" y="802"/>
                  </a:lnTo>
                  <a:lnTo>
                    <a:pt x="1026" y="804"/>
                  </a:lnTo>
                  <a:lnTo>
                    <a:pt x="1032" y="802"/>
                  </a:lnTo>
                  <a:lnTo>
                    <a:pt x="1038" y="799"/>
                  </a:lnTo>
                  <a:lnTo>
                    <a:pt x="1043" y="793"/>
                  </a:lnTo>
                  <a:lnTo>
                    <a:pt x="1043" y="793"/>
                  </a:lnTo>
                  <a:lnTo>
                    <a:pt x="1051" y="779"/>
                  </a:lnTo>
                  <a:lnTo>
                    <a:pt x="1057" y="764"/>
                  </a:lnTo>
                  <a:lnTo>
                    <a:pt x="1066" y="734"/>
                  </a:lnTo>
                  <a:lnTo>
                    <a:pt x="1066" y="734"/>
                  </a:lnTo>
                  <a:lnTo>
                    <a:pt x="1073" y="705"/>
                  </a:lnTo>
                  <a:lnTo>
                    <a:pt x="1079" y="692"/>
                  </a:lnTo>
                  <a:lnTo>
                    <a:pt x="1085" y="678"/>
                  </a:lnTo>
                  <a:lnTo>
                    <a:pt x="1085" y="678"/>
                  </a:lnTo>
                  <a:lnTo>
                    <a:pt x="1090" y="672"/>
                  </a:lnTo>
                  <a:lnTo>
                    <a:pt x="1096" y="668"/>
                  </a:lnTo>
                  <a:lnTo>
                    <a:pt x="1103" y="666"/>
                  </a:lnTo>
                  <a:lnTo>
                    <a:pt x="1111" y="666"/>
                  </a:lnTo>
                  <a:lnTo>
                    <a:pt x="1111" y="666"/>
                  </a:lnTo>
                  <a:lnTo>
                    <a:pt x="1120" y="668"/>
                  </a:lnTo>
                  <a:lnTo>
                    <a:pt x="1128" y="671"/>
                  </a:lnTo>
                  <a:lnTo>
                    <a:pt x="1132" y="677"/>
                  </a:lnTo>
                  <a:lnTo>
                    <a:pt x="1135" y="680"/>
                  </a:lnTo>
                  <a:lnTo>
                    <a:pt x="1135" y="684"/>
                  </a:lnTo>
                  <a:lnTo>
                    <a:pt x="1135" y="684"/>
                  </a:lnTo>
                  <a:lnTo>
                    <a:pt x="1137" y="689"/>
                  </a:lnTo>
                  <a:lnTo>
                    <a:pt x="1138" y="693"/>
                  </a:lnTo>
                  <a:lnTo>
                    <a:pt x="1141" y="695"/>
                  </a:lnTo>
                  <a:lnTo>
                    <a:pt x="1147" y="695"/>
                  </a:lnTo>
                  <a:lnTo>
                    <a:pt x="1147" y="695"/>
                  </a:lnTo>
                  <a:lnTo>
                    <a:pt x="1152" y="693"/>
                  </a:lnTo>
                  <a:lnTo>
                    <a:pt x="1156" y="690"/>
                  </a:lnTo>
                  <a:lnTo>
                    <a:pt x="1158" y="686"/>
                  </a:lnTo>
                  <a:lnTo>
                    <a:pt x="1158" y="680"/>
                  </a:lnTo>
                  <a:lnTo>
                    <a:pt x="1158" y="680"/>
                  </a:lnTo>
                  <a:lnTo>
                    <a:pt x="1156" y="660"/>
                  </a:lnTo>
                  <a:lnTo>
                    <a:pt x="1158" y="654"/>
                  </a:lnTo>
                  <a:lnTo>
                    <a:pt x="1159" y="650"/>
                  </a:lnTo>
                  <a:lnTo>
                    <a:pt x="1162" y="647"/>
                  </a:lnTo>
                  <a:lnTo>
                    <a:pt x="1168" y="644"/>
                  </a:lnTo>
                  <a:lnTo>
                    <a:pt x="1186" y="639"/>
                  </a:lnTo>
                  <a:lnTo>
                    <a:pt x="1186" y="639"/>
                  </a:lnTo>
                  <a:lnTo>
                    <a:pt x="1192" y="638"/>
                  </a:lnTo>
                  <a:lnTo>
                    <a:pt x="1197" y="634"/>
                  </a:lnTo>
                  <a:lnTo>
                    <a:pt x="1199" y="630"/>
                  </a:lnTo>
                  <a:lnTo>
                    <a:pt x="1199" y="624"/>
                  </a:lnTo>
                  <a:lnTo>
                    <a:pt x="1199" y="624"/>
                  </a:lnTo>
                  <a:lnTo>
                    <a:pt x="1199" y="609"/>
                  </a:lnTo>
                  <a:lnTo>
                    <a:pt x="1199" y="609"/>
                  </a:lnTo>
                  <a:lnTo>
                    <a:pt x="1199" y="603"/>
                  </a:lnTo>
                  <a:lnTo>
                    <a:pt x="1200" y="597"/>
                  </a:lnTo>
                  <a:lnTo>
                    <a:pt x="1202" y="592"/>
                  </a:lnTo>
                  <a:lnTo>
                    <a:pt x="1208" y="589"/>
                  </a:lnTo>
                  <a:lnTo>
                    <a:pt x="1208" y="589"/>
                  </a:lnTo>
                  <a:lnTo>
                    <a:pt x="1214" y="588"/>
                  </a:lnTo>
                  <a:lnTo>
                    <a:pt x="1221" y="588"/>
                  </a:lnTo>
                  <a:lnTo>
                    <a:pt x="1226" y="591"/>
                  </a:lnTo>
                  <a:lnTo>
                    <a:pt x="1232" y="595"/>
                  </a:lnTo>
                  <a:lnTo>
                    <a:pt x="1232" y="595"/>
                  </a:lnTo>
                  <a:lnTo>
                    <a:pt x="1238" y="604"/>
                  </a:lnTo>
                  <a:lnTo>
                    <a:pt x="1242" y="612"/>
                  </a:lnTo>
                  <a:lnTo>
                    <a:pt x="1242" y="612"/>
                  </a:lnTo>
                  <a:lnTo>
                    <a:pt x="1251" y="630"/>
                  </a:lnTo>
                  <a:lnTo>
                    <a:pt x="1251" y="630"/>
                  </a:lnTo>
                  <a:lnTo>
                    <a:pt x="1259" y="642"/>
                  </a:lnTo>
                  <a:lnTo>
                    <a:pt x="1266" y="650"/>
                  </a:lnTo>
                  <a:lnTo>
                    <a:pt x="1276" y="654"/>
                  </a:lnTo>
                  <a:lnTo>
                    <a:pt x="1285" y="657"/>
                  </a:lnTo>
                  <a:lnTo>
                    <a:pt x="1294" y="657"/>
                  </a:lnTo>
                  <a:lnTo>
                    <a:pt x="1303" y="653"/>
                  </a:lnTo>
                  <a:lnTo>
                    <a:pt x="1312" y="647"/>
                  </a:lnTo>
                  <a:lnTo>
                    <a:pt x="1321" y="639"/>
                  </a:lnTo>
                  <a:lnTo>
                    <a:pt x="1321" y="639"/>
                  </a:lnTo>
                  <a:lnTo>
                    <a:pt x="1330" y="628"/>
                  </a:lnTo>
                  <a:lnTo>
                    <a:pt x="1337" y="619"/>
                  </a:lnTo>
                  <a:lnTo>
                    <a:pt x="1337" y="619"/>
                  </a:lnTo>
                  <a:lnTo>
                    <a:pt x="1339" y="615"/>
                  </a:lnTo>
                  <a:lnTo>
                    <a:pt x="1340" y="612"/>
                  </a:lnTo>
                  <a:lnTo>
                    <a:pt x="1340" y="609"/>
                  </a:lnTo>
                  <a:lnTo>
                    <a:pt x="1337" y="604"/>
                  </a:lnTo>
                  <a:lnTo>
                    <a:pt x="1337" y="604"/>
                  </a:lnTo>
                  <a:lnTo>
                    <a:pt x="1334" y="600"/>
                  </a:lnTo>
                  <a:lnTo>
                    <a:pt x="1333" y="597"/>
                  </a:lnTo>
                  <a:lnTo>
                    <a:pt x="1333" y="594"/>
                  </a:lnTo>
                  <a:lnTo>
                    <a:pt x="1333" y="589"/>
                  </a:lnTo>
                  <a:lnTo>
                    <a:pt x="1336" y="583"/>
                  </a:lnTo>
                  <a:lnTo>
                    <a:pt x="1340" y="577"/>
                  </a:lnTo>
                  <a:lnTo>
                    <a:pt x="1340" y="577"/>
                  </a:lnTo>
                  <a:lnTo>
                    <a:pt x="1353" y="567"/>
                  </a:lnTo>
                  <a:lnTo>
                    <a:pt x="1353" y="567"/>
                  </a:lnTo>
                  <a:lnTo>
                    <a:pt x="1359" y="562"/>
                  </a:lnTo>
                  <a:lnTo>
                    <a:pt x="1362" y="556"/>
                  </a:lnTo>
                  <a:lnTo>
                    <a:pt x="1360" y="550"/>
                  </a:lnTo>
                  <a:lnTo>
                    <a:pt x="1356" y="544"/>
                  </a:lnTo>
                  <a:lnTo>
                    <a:pt x="1356" y="544"/>
                  </a:lnTo>
                  <a:lnTo>
                    <a:pt x="1351" y="538"/>
                  </a:lnTo>
                  <a:lnTo>
                    <a:pt x="1351" y="538"/>
                  </a:lnTo>
                  <a:lnTo>
                    <a:pt x="1348" y="532"/>
                  </a:lnTo>
                  <a:lnTo>
                    <a:pt x="1345" y="524"/>
                  </a:lnTo>
                  <a:lnTo>
                    <a:pt x="1345" y="518"/>
                  </a:lnTo>
                  <a:lnTo>
                    <a:pt x="1345" y="514"/>
                  </a:lnTo>
                  <a:lnTo>
                    <a:pt x="1348" y="509"/>
                  </a:lnTo>
                  <a:lnTo>
                    <a:pt x="1353" y="505"/>
                  </a:lnTo>
                  <a:lnTo>
                    <a:pt x="1359" y="503"/>
                  </a:lnTo>
                  <a:lnTo>
                    <a:pt x="1365" y="502"/>
                  </a:lnTo>
                  <a:lnTo>
                    <a:pt x="1365" y="502"/>
                  </a:lnTo>
                  <a:lnTo>
                    <a:pt x="1378" y="500"/>
                  </a:lnTo>
                  <a:lnTo>
                    <a:pt x="1390" y="499"/>
                  </a:lnTo>
                  <a:lnTo>
                    <a:pt x="1416" y="493"/>
                  </a:lnTo>
                  <a:lnTo>
                    <a:pt x="1439" y="483"/>
                  </a:lnTo>
                  <a:lnTo>
                    <a:pt x="1463" y="474"/>
                  </a:lnTo>
                  <a:lnTo>
                    <a:pt x="1463" y="474"/>
                  </a:lnTo>
                  <a:lnTo>
                    <a:pt x="1469" y="471"/>
                  </a:lnTo>
                  <a:lnTo>
                    <a:pt x="1475" y="470"/>
                  </a:lnTo>
                  <a:lnTo>
                    <a:pt x="1481" y="470"/>
                  </a:lnTo>
                  <a:lnTo>
                    <a:pt x="1487" y="471"/>
                  </a:lnTo>
                  <a:lnTo>
                    <a:pt x="1493" y="473"/>
                  </a:lnTo>
                  <a:lnTo>
                    <a:pt x="1499" y="476"/>
                  </a:lnTo>
                  <a:lnTo>
                    <a:pt x="1504" y="480"/>
                  </a:lnTo>
                  <a:lnTo>
                    <a:pt x="1510" y="485"/>
                  </a:lnTo>
                  <a:lnTo>
                    <a:pt x="1510" y="485"/>
                  </a:lnTo>
                  <a:lnTo>
                    <a:pt x="1514" y="489"/>
                  </a:lnTo>
                  <a:lnTo>
                    <a:pt x="1519" y="491"/>
                  </a:lnTo>
                  <a:lnTo>
                    <a:pt x="1522" y="489"/>
                  </a:lnTo>
                  <a:lnTo>
                    <a:pt x="1523" y="488"/>
                  </a:lnTo>
                  <a:lnTo>
                    <a:pt x="1526" y="480"/>
                  </a:lnTo>
                  <a:lnTo>
                    <a:pt x="1526" y="480"/>
                  </a:lnTo>
                  <a:lnTo>
                    <a:pt x="1529" y="474"/>
                  </a:lnTo>
                  <a:lnTo>
                    <a:pt x="1534" y="470"/>
                  </a:lnTo>
                  <a:lnTo>
                    <a:pt x="1541" y="468"/>
                  </a:lnTo>
                  <a:lnTo>
                    <a:pt x="1549" y="467"/>
                  </a:lnTo>
                  <a:lnTo>
                    <a:pt x="1549" y="467"/>
                  </a:lnTo>
                  <a:lnTo>
                    <a:pt x="1562" y="468"/>
                  </a:lnTo>
                  <a:lnTo>
                    <a:pt x="1574" y="470"/>
                  </a:lnTo>
                  <a:lnTo>
                    <a:pt x="1602" y="476"/>
                  </a:lnTo>
                  <a:lnTo>
                    <a:pt x="1602" y="476"/>
                  </a:lnTo>
                  <a:lnTo>
                    <a:pt x="1633" y="482"/>
                  </a:lnTo>
                  <a:lnTo>
                    <a:pt x="1633" y="482"/>
                  </a:lnTo>
                  <a:lnTo>
                    <a:pt x="1642" y="482"/>
                  </a:lnTo>
                  <a:lnTo>
                    <a:pt x="1648" y="480"/>
                  </a:lnTo>
                  <a:lnTo>
                    <a:pt x="1651" y="479"/>
                  </a:lnTo>
                  <a:lnTo>
                    <a:pt x="1653" y="476"/>
                  </a:lnTo>
                  <a:lnTo>
                    <a:pt x="1654" y="473"/>
                  </a:lnTo>
                  <a:lnTo>
                    <a:pt x="1654" y="467"/>
                  </a:lnTo>
                  <a:lnTo>
                    <a:pt x="1654" y="467"/>
                  </a:lnTo>
                  <a:lnTo>
                    <a:pt x="1656" y="461"/>
                  </a:lnTo>
                  <a:lnTo>
                    <a:pt x="1659" y="456"/>
                  </a:lnTo>
                  <a:lnTo>
                    <a:pt x="1665" y="455"/>
                  </a:lnTo>
                  <a:lnTo>
                    <a:pt x="1671" y="456"/>
                  </a:lnTo>
                  <a:lnTo>
                    <a:pt x="1671" y="456"/>
                  </a:lnTo>
                  <a:lnTo>
                    <a:pt x="1677" y="458"/>
                  </a:lnTo>
                  <a:lnTo>
                    <a:pt x="1680" y="456"/>
                  </a:lnTo>
                  <a:lnTo>
                    <a:pt x="1682" y="456"/>
                  </a:lnTo>
                  <a:lnTo>
                    <a:pt x="1683" y="452"/>
                  </a:lnTo>
                  <a:lnTo>
                    <a:pt x="1683" y="447"/>
                  </a:lnTo>
                  <a:lnTo>
                    <a:pt x="1683" y="447"/>
                  </a:lnTo>
                  <a:lnTo>
                    <a:pt x="1686" y="422"/>
                  </a:lnTo>
                  <a:lnTo>
                    <a:pt x="1688" y="408"/>
                  </a:lnTo>
                  <a:lnTo>
                    <a:pt x="1692" y="396"/>
                  </a:lnTo>
                  <a:lnTo>
                    <a:pt x="1692" y="396"/>
                  </a:lnTo>
                  <a:lnTo>
                    <a:pt x="1697" y="385"/>
                  </a:lnTo>
                  <a:lnTo>
                    <a:pt x="1700" y="381"/>
                  </a:lnTo>
                  <a:lnTo>
                    <a:pt x="1703" y="379"/>
                  </a:lnTo>
                  <a:lnTo>
                    <a:pt x="1706" y="379"/>
                  </a:lnTo>
                  <a:lnTo>
                    <a:pt x="1710" y="379"/>
                  </a:lnTo>
                  <a:lnTo>
                    <a:pt x="1721" y="384"/>
                  </a:lnTo>
                  <a:lnTo>
                    <a:pt x="1721" y="384"/>
                  </a:lnTo>
                  <a:lnTo>
                    <a:pt x="1728" y="385"/>
                  </a:lnTo>
                  <a:lnTo>
                    <a:pt x="1733" y="385"/>
                  </a:lnTo>
                  <a:lnTo>
                    <a:pt x="1739" y="382"/>
                  </a:lnTo>
                  <a:lnTo>
                    <a:pt x="1744" y="378"/>
                  </a:lnTo>
                  <a:lnTo>
                    <a:pt x="1744" y="378"/>
                  </a:lnTo>
                  <a:lnTo>
                    <a:pt x="1754" y="366"/>
                  </a:lnTo>
                  <a:lnTo>
                    <a:pt x="1765" y="354"/>
                  </a:lnTo>
                  <a:lnTo>
                    <a:pt x="1765" y="354"/>
                  </a:lnTo>
                  <a:lnTo>
                    <a:pt x="1771" y="349"/>
                  </a:lnTo>
                  <a:lnTo>
                    <a:pt x="1775" y="346"/>
                  </a:lnTo>
                  <a:lnTo>
                    <a:pt x="1781" y="344"/>
                  </a:lnTo>
                  <a:lnTo>
                    <a:pt x="1786" y="343"/>
                  </a:lnTo>
                  <a:lnTo>
                    <a:pt x="1792" y="343"/>
                  </a:lnTo>
                  <a:lnTo>
                    <a:pt x="1796" y="346"/>
                  </a:lnTo>
                  <a:lnTo>
                    <a:pt x="1801" y="349"/>
                  </a:lnTo>
                  <a:lnTo>
                    <a:pt x="1807" y="354"/>
                  </a:lnTo>
                  <a:lnTo>
                    <a:pt x="1807" y="354"/>
                  </a:lnTo>
                  <a:lnTo>
                    <a:pt x="1815" y="360"/>
                  </a:lnTo>
                  <a:lnTo>
                    <a:pt x="1821" y="363"/>
                  </a:lnTo>
                  <a:lnTo>
                    <a:pt x="1830" y="361"/>
                  </a:lnTo>
                  <a:lnTo>
                    <a:pt x="1839" y="358"/>
                  </a:lnTo>
                  <a:lnTo>
                    <a:pt x="1839" y="358"/>
                  </a:lnTo>
                  <a:lnTo>
                    <a:pt x="1861" y="348"/>
                  </a:lnTo>
                  <a:lnTo>
                    <a:pt x="1882" y="338"/>
                  </a:lnTo>
                  <a:lnTo>
                    <a:pt x="1928" y="320"/>
                  </a:lnTo>
                  <a:lnTo>
                    <a:pt x="1928" y="320"/>
                  </a:lnTo>
                  <a:lnTo>
                    <a:pt x="1970" y="302"/>
                  </a:lnTo>
                  <a:lnTo>
                    <a:pt x="1970" y="302"/>
                  </a:lnTo>
                  <a:lnTo>
                    <a:pt x="1981" y="296"/>
                  </a:lnTo>
                  <a:lnTo>
                    <a:pt x="1987" y="293"/>
                  </a:lnTo>
                  <a:lnTo>
                    <a:pt x="1990" y="289"/>
                  </a:lnTo>
                  <a:lnTo>
                    <a:pt x="1994" y="284"/>
                  </a:lnTo>
                  <a:lnTo>
                    <a:pt x="1996" y="278"/>
                  </a:lnTo>
                  <a:lnTo>
                    <a:pt x="1996" y="272"/>
                  </a:lnTo>
                  <a:lnTo>
                    <a:pt x="1996" y="264"/>
                  </a:lnTo>
                  <a:lnTo>
                    <a:pt x="1996" y="264"/>
                  </a:lnTo>
                  <a:lnTo>
                    <a:pt x="1996" y="257"/>
                  </a:lnTo>
                  <a:lnTo>
                    <a:pt x="1999" y="252"/>
                  </a:lnTo>
                  <a:lnTo>
                    <a:pt x="2003" y="248"/>
                  </a:lnTo>
                  <a:lnTo>
                    <a:pt x="2009" y="245"/>
                  </a:lnTo>
                  <a:lnTo>
                    <a:pt x="2009" y="245"/>
                  </a:lnTo>
                  <a:lnTo>
                    <a:pt x="2023" y="242"/>
                  </a:lnTo>
                  <a:lnTo>
                    <a:pt x="2035" y="239"/>
                  </a:lnTo>
                  <a:lnTo>
                    <a:pt x="2059" y="237"/>
                  </a:lnTo>
                  <a:lnTo>
                    <a:pt x="2059" y="237"/>
                  </a:lnTo>
                  <a:lnTo>
                    <a:pt x="2095" y="237"/>
                  </a:lnTo>
                  <a:lnTo>
                    <a:pt x="2113" y="236"/>
                  </a:lnTo>
                  <a:lnTo>
                    <a:pt x="2132" y="233"/>
                  </a:lnTo>
                  <a:lnTo>
                    <a:pt x="2132" y="233"/>
                  </a:lnTo>
                  <a:lnTo>
                    <a:pt x="2144" y="230"/>
                  </a:lnTo>
                  <a:lnTo>
                    <a:pt x="2150" y="227"/>
                  </a:lnTo>
                  <a:lnTo>
                    <a:pt x="2153" y="224"/>
                  </a:lnTo>
                  <a:lnTo>
                    <a:pt x="2156" y="219"/>
                  </a:lnTo>
                  <a:lnTo>
                    <a:pt x="2159" y="215"/>
                  </a:lnTo>
                  <a:lnTo>
                    <a:pt x="2160" y="210"/>
                  </a:lnTo>
                  <a:lnTo>
                    <a:pt x="2160" y="204"/>
                  </a:lnTo>
                  <a:lnTo>
                    <a:pt x="2160" y="204"/>
                  </a:lnTo>
                  <a:lnTo>
                    <a:pt x="2160" y="198"/>
                  </a:lnTo>
                  <a:lnTo>
                    <a:pt x="2159" y="193"/>
                  </a:lnTo>
                  <a:lnTo>
                    <a:pt x="2156" y="189"/>
                  </a:lnTo>
                  <a:lnTo>
                    <a:pt x="2151" y="186"/>
                  </a:lnTo>
                  <a:lnTo>
                    <a:pt x="2144" y="181"/>
                  </a:lnTo>
                  <a:lnTo>
                    <a:pt x="2133" y="178"/>
                  </a:lnTo>
                  <a:lnTo>
                    <a:pt x="2133" y="178"/>
                  </a:lnTo>
                  <a:lnTo>
                    <a:pt x="2110" y="174"/>
                  </a:lnTo>
                  <a:lnTo>
                    <a:pt x="2089" y="168"/>
                  </a:lnTo>
                  <a:lnTo>
                    <a:pt x="2089" y="168"/>
                  </a:lnTo>
                  <a:lnTo>
                    <a:pt x="2079" y="163"/>
                  </a:lnTo>
                  <a:lnTo>
                    <a:pt x="2074" y="162"/>
                  </a:lnTo>
                  <a:lnTo>
                    <a:pt x="2070" y="157"/>
                  </a:lnTo>
                  <a:lnTo>
                    <a:pt x="2067" y="154"/>
                  </a:lnTo>
                  <a:lnTo>
                    <a:pt x="2065" y="150"/>
                  </a:lnTo>
                  <a:lnTo>
                    <a:pt x="2064" y="144"/>
                  </a:lnTo>
                  <a:lnTo>
                    <a:pt x="2065" y="136"/>
                  </a:lnTo>
                  <a:lnTo>
                    <a:pt x="2065" y="136"/>
                  </a:lnTo>
                  <a:lnTo>
                    <a:pt x="2065" y="133"/>
                  </a:lnTo>
                  <a:lnTo>
                    <a:pt x="2064" y="132"/>
                  </a:lnTo>
                  <a:lnTo>
                    <a:pt x="2061" y="130"/>
                  </a:lnTo>
                  <a:lnTo>
                    <a:pt x="2061" y="130"/>
                  </a:lnTo>
                  <a:lnTo>
                    <a:pt x="2053" y="130"/>
                  </a:lnTo>
                  <a:lnTo>
                    <a:pt x="2046" y="129"/>
                  </a:lnTo>
                  <a:lnTo>
                    <a:pt x="2046" y="129"/>
                  </a:lnTo>
                  <a:lnTo>
                    <a:pt x="2038" y="125"/>
                  </a:lnTo>
                  <a:lnTo>
                    <a:pt x="2033" y="122"/>
                  </a:lnTo>
                  <a:lnTo>
                    <a:pt x="2029" y="119"/>
                  </a:lnTo>
                  <a:lnTo>
                    <a:pt x="2026" y="115"/>
                  </a:lnTo>
                  <a:lnTo>
                    <a:pt x="2024" y="110"/>
                  </a:lnTo>
                  <a:lnTo>
                    <a:pt x="2024" y="106"/>
                  </a:lnTo>
                  <a:lnTo>
                    <a:pt x="2024" y="100"/>
                  </a:lnTo>
                  <a:lnTo>
                    <a:pt x="2027" y="92"/>
                  </a:lnTo>
                  <a:lnTo>
                    <a:pt x="2027" y="92"/>
                  </a:lnTo>
                  <a:lnTo>
                    <a:pt x="2032" y="83"/>
                  </a:lnTo>
                  <a:lnTo>
                    <a:pt x="2036" y="73"/>
                  </a:lnTo>
                  <a:lnTo>
                    <a:pt x="2036" y="73"/>
                  </a:lnTo>
                  <a:lnTo>
                    <a:pt x="2041" y="65"/>
                  </a:lnTo>
                  <a:lnTo>
                    <a:pt x="2046" y="56"/>
                  </a:lnTo>
                  <a:lnTo>
                    <a:pt x="2046" y="51"/>
                  </a:lnTo>
                  <a:lnTo>
                    <a:pt x="2046" y="47"/>
                  </a:lnTo>
                  <a:lnTo>
                    <a:pt x="2044" y="42"/>
                  </a:lnTo>
                  <a:lnTo>
                    <a:pt x="2039" y="36"/>
                  </a:lnTo>
                  <a:lnTo>
                    <a:pt x="2039" y="36"/>
                  </a:lnTo>
                  <a:lnTo>
                    <a:pt x="2038" y="32"/>
                  </a:lnTo>
                  <a:lnTo>
                    <a:pt x="2038" y="29"/>
                  </a:lnTo>
                  <a:lnTo>
                    <a:pt x="2038" y="24"/>
                  </a:lnTo>
                  <a:lnTo>
                    <a:pt x="2039" y="21"/>
                  </a:lnTo>
                  <a:lnTo>
                    <a:pt x="2046" y="14"/>
                  </a:lnTo>
                  <a:lnTo>
                    <a:pt x="2053" y="8"/>
                  </a:lnTo>
                  <a:lnTo>
                    <a:pt x="2053" y="8"/>
                  </a:lnTo>
                  <a:lnTo>
                    <a:pt x="2061" y="2"/>
                  </a:lnTo>
                  <a:lnTo>
                    <a:pt x="2070" y="0"/>
                  </a:lnTo>
                  <a:lnTo>
                    <a:pt x="2074" y="0"/>
                  </a:lnTo>
                  <a:lnTo>
                    <a:pt x="2077" y="0"/>
                  </a:lnTo>
                  <a:lnTo>
                    <a:pt x="2082" y="3"/>
                  </a:lnTo>
                  <a:lnTo>
                    <a:pt x="2085" y="6"/>
                  </a:lnTo>
                  <a:lnTo>
                    <a:pt x="2085" y="6"/>
                  </a:lnTo>
                  <a:lnTo>
                    <a:pt x="2091" y="12"/>
                  </a:lnTo>
                  <a:lnTo>
                    <a:pt x="2095" y="17"/>
                  </a:lnTo>
                  <a:lnTo>
                    <a:pt x="2101" y="20"/>
                  </a:lnTo>
                  <a:lnTo>
                    <a:pt x="2107" y="23"/>
                  </a:lnTo>
                  <a:lnTo>
                    <a:pt x="2115" y="24"/>
                  </a:lnTo>
                  <a:lnTo>
                    <a:pt x="2121" y="24"/>
                  </a:lnTo>
                  <a:lnTo>
                    <a:pt x="2136" y="24"/>
                  </a:lnTo>
                  <a:lnTo>
                    <a:pt x="2136" y="24"/>
                  </a:lnTo>
                  <a:lnTo>
                    <a:pt x="2142" y="23"/>
                  </a:lnTo>
                  <a:lnTo>
                    <a:pt x="2145" y="24"/>
                  </a:lnTo>
                  <a:lnTo>
                    <a:pt x="2150" y="26"/>
                  </a:lnTo>
                  <a:lnTo>
                    <a:pt x="2153" y="29"/>
                  </a:lnTo>
                  <a:lnTo>
                    <a:pt x="2159" y="35"/>
                  </a:lnTo>
                  <a:lnTo>
                    <a:pt x="2165" y="44"/>
                  </a:lnTo>
                  <a:lnTo>
                    <a:pt x="2165" y="44"/>
                  </a:lnTo>
                  <a:lnTo>
                    <a:pt x="2168" y="48"/>
                  </a:lnTo>
                  <a:lnTo>
                    <a:pt x="2171" y="51"/>
                  </a:lnTo>
                  <a:lnTo>
                    <a:pt x="2177" y="51"/>
                  </a:lnTo>
                  <a:lnTo>
                    <a:pt x="2181" y="47"/>
                  </a:lnTo>
                  <a:lnTo>
                    <a:pt x="2181" y="47"/>
                  </a:lnTo>
                  <a:lnTo>
                    <a:pt x="2200" y="35"/>
                  </a:lnTo>
                  <a:lnTo>
                    <a:pt x="2206" y="32"/>
                  </a:lnTo>
                  <a:lnTo>
                    <a:pt x="2210" y="30"/>
                  </a:lnTo>
                  <a:lnTo>
                    <a:pt x="2216" y="30"/>
                  </a:lnTo>
                  <a:lnTo>
                    <a:pt x="2224" y="33"/>
                  </a:lnTo>
                  <a:lnTo>
                    <a:pt x="2242" y="45"/>
                  </a:lnTo>
                  <a:lnTo>
                    <a:pt x="2242" y="45"/>
                  </a:lnTo>
                  <a:lnTo>
                    <a:pt x="2242" y="26"/>
                  </a:lnTo>
                  <a:lnTo>
                    <a:pt x="2242" y="26"/>
                  </a:lnTo>
                  <a:lnTo>
                    <a:pt x="2242" y="21"/>
                  </a:lnTo>
                  <a:lnTo>
                    <a:pt x="2245" y="17"/>
                  </a:lnTo>
                  <a:lnTo>
                    <a:pt x="2248" y="14"/>
                  </a:lnTo>
                  <a:lnTo>
                    <a:pt x="2252" y="14"/>
                  </a:lnTo>
                  <a:lnTo>
                    <a:pt x="2252" y="14"/>
                  </a:lnTo>
                  <a:lnTo>
                    <a:pt x="2258" y="14"/>
                  </a:lnTo>
                  <a:lnTo>
                    <a:pt x="2261" y="17"/>
                  </a:lnTo>
                  <a:lnTo>
                    <a:pt x="2264" y="21"/>
                  </a:lnTo>
                  <a:lnTo>
                    <a:pt x="2264" y="27"/>
                  </a:lnTo>
                  <a:lnTo>
                    <a:pt x="2264" y="27"/>
                  </a:lnTo>
                  <a:lnTo>
                    <a:pt x="2264" y="32"/>
                  </a:lnTo>
                  <a:lnTo>
                    <a:pt x="2263" y="36"/>
                  </a:lnTo>
                  <a:lnTo>
                    <a:pt x="2263" y="36"/>
                  </a:lnTo>
                  <a:lnTo>
                    <a:pt x="2261" y="44"/>
                  </a:lnTo>
                  <a:lnTo>
                    <a:pt x="2261" y="48"/>
                  </a:lnTo>
                  <a:lnTo>
                    <a:pt x="2263" y="51"/>
                  </a:lnTo>
                  <a:lnTo>
                    <a:pt x="2266" y="53"/>
                  </a:lnTo>
                  <a:lnTo>
                    <a:pt x="2274" y="54"/>
                  </a:lnTo>
                  <a:lnTo>
                    <a:pt x="2274" y="54"/>
                  </a:lnTo>
                  <a:lnTo>
                    <a:pt x="2286" y="56"/>
                  </a:lnTo>
                  <a:lnTo>
                    <a:pt x="2296" y="61"/>
                  </a:lnTo>
                  <a:lnTo>
                    <a:pt x="2317" y="70"/>
                  </a:lnTo>
                  <a:lnTo>
                    <a:pt x="2317" y="70"/>
                  </a:lnTo>
                  <a:lnTo>
                    <a:pt x="2329" y="76"/>
                  </a:lnTo>
                  <a:lnTo>
                    <a:pt x="2338" y="85"/>
                  </a:lnTo>
                  <a:lnTo>
                    <a:pt x="2346" y="94"/>
                  </a:lnTo>
                  <a:lnTo>
                    <a:pt x="2351" y="104"/>
                  </a:lnTo>
                  <a:lnTo>
                    <a:pt x="2352" y="116"/>
                  </a:lnTo>
                  <a:lnTo>
                    <a:pt x="2351" y="129"/>
                  </a:lnTo>
                  <a:lnTo>
                    <a:pt x="2347" y="141"/>
                  </a:lnTo>
                  <a:lnTo>
                    <a:pt x="2341" y="154"/>
                  </a:lnTo>
                  <a:lnTo>
                    <a:pt x="2341" y="154"/>
                  </a:lnTo>
                  <a:lnTo>
                    <a:pt x="2322" y="186"/>
                  </a:lnTo>
                  <a:lnTo>
                    <a:pt x="2322" y="186"/>
                  </a:lnTo>
                  <a:lnTo>
                    <a:pt x="2319" y="190"/>
                  </a:lnTo>
                  <a:lnTo>
                    <a:pt x="2319" y="195"/>
                  </a:lnTo>
                  <a:lnTo>
                    <a:pt x="2319" y="198"/>
                  </a:lnTo>
                  <a:lnTo>
                    <a:pt x="2322" y="203"/>
                  </a:lnTo>
                  <a:lnTo>
                    <a:pt x="2322" y="203"/>
                  </a:lnTo>
                  <a:lnTo>
                    <a:pt x="2325" y="204"/>
                  </a:lnTo>
                  <a:lnTo>
                    <a:pt x="2328" y="204"/>
                  </a:lnTo>
                  <a:lnTo>
                    <a:pt x="2335" y="199"/>
                  </a:lnTo>
                  <a:lnTo>
                    <a:pt x="2335" y="199"/>
                  </a:lnTo>
                  <a:lnTo>
                    <a:pt x="2352" y="190"/>
                  </a:lnTo>
                  <a:lnTo>
                    <a:pt x="2369" y="180"/>
                  </a:lnTo>
                  <a:lnTo>
                    <a:pt x="2369" y="180"/>
                  </a:lnTo>
                  <a:lnTo>
                    <a:pt x="2376" y="177"/>
                  </a:lnTo>
                  <a:lnTo>
                    <a:pt x="2382" y="175"/>
                  </a:lnTo>
                  <a:lnTo>
                    <a:pt x="2388" y="177"/>
                  </a:lnTo>
                  <a:lnTo>
                    <a:pt x="2394" y="180"/>
                  </a:lnTo>
                  <a:lnTo>
                    <a:pt x="2399" y="183"/>
                  </a:lnTo>
                  <a:lnTo>
                    <a:pt x="2402" y="189"/>
                  </a:lnTo>
                  <a:lnTo>
                    <a:pt x="2403" y="196"/>
                  </a:lnTo>
                  <a:lnTo>
                    <a:pt x="2403" y="204"/>
                  </a:lnTo>
                  <a:lnTo>
                    <a:pt x="2403" y="204"/>
                  </a:lnTo>
                  <a:lnTo>
                    <a:pt x="2402" y="213"/>
                  </a:lnTo>
                  <a:lnTo>
                    <a:pt x="2399" y="221"/>
                  </a:lnTo>
                  <a:lnTo>
                    <a:pt x="2391" y="237"/>
                  </a:lnTo>
                  <a:lnTo>
                    <a:pt x="2391" y="237"/>
                  </a:lnTo>
                  <a:lnTo>
                    <a:pt x="2381" y="254"/>
                  </a:lnTo>
                  <a:lnTo>
                    <a:pt x="2373" y="272"/>
                  </a:lnTo>
                  <a:lnTo>
                    <a:pt x="2373" y="272"/>
                  </a:lnTo>
                  <a:lnTo>
                    <a:pt x="2370" y="278"/>
                  </a:lnTo>
                  <a:lnTo>
                    <a:pt x="2370" y="284"/>
                  </a:lnTo>
                  <a:lnTo>
                    <a:pt x="2370" y="289"/>
                  </a:lnTo>
                  <a:lnTo>
                    <a:pt x="2372" y="293"/>
                  </a:lnTo>
                  <a:lnTo>
                    <a:pt x="2375" y="296"/>
                  </a:lnTo>
                  <a:lnTo>
                    <a:pt x="2379" y="299"/>
                  </a:lnTo>
                  <a:lnTo>
                    <a:pt x="2384" y="302"/>
                  </a:lnTo>
                  <a:lnTo>
                    <a:pt x="2391" y="304"/>
                  </a:lnTo>
                  <a:lnTo>
                    <a:pt x="2391" y="304"/>
                  </a:lnTo>
                  <a:lnTo>
                    <a:pt x="2406" y="305"/>
                  </a:lnTo>
                  <a:lnTo>
                    <a:pt x="2423" y="307"/>
                  </a:lnTo>
                  <a:lnTo>
                    <a:pt x="2423" y="307"/>
                  </a:lnTo>
                  <a:lnTo>
                    <a:pt x="2437" y="308"/>
                  </a:lnTo>
                  <a:lnTo>
                    <a:pt x="2443" y="310"/>
                  </a:lnTo>
                  <a:lnTo>
                    <a:pt x="2447" y="311"/>
                  </a:lnTo>
                  <a:lnTo>
                    <a:pt x="2453" y="314"/>
                  </a:lnTo>
                  <a:lnTo>
                    <a:pt x="2456" y="320"/>
                  </a:lnTo>
                  <a:lnTo>
                    <a:pt x="2459" y="326"/>
                  </a:lnTo>
                  <a:lnTo>
                    <a:pt x="2462" y="334"/>
                  </a:lnTo>
                  <a:lnTo>
                    <a:pt x="2462" y="334"/>
                  </a:lnTo>
                  <a:lnTo>
                    <a:pt x="2462" y="337"/>
                  </a:lnTo>
                  <a:lnTo>
                    <a:pt x="2465" y="340"/>
                  </a:lnTo>
                  <a:lnTo>
                    <a:pt x="2470" y="341"/>
                  </a:lnTo>
                  <a:lnTo>
                    <a:pt x="2480" y="344"/>
                  </a:lnTo>
                  <a:lnTo>
                    <a:pt x="2480" y="344"/>
                  </a:lnTo>
                  <a:lnTo>
                    <a:pt x="2492" y="348"/>
                  </a:lnTo>
                  <a:lnTo>
                    <a:pt x="2503" y="348"/>
                  </a:lnTo>
                  <a:lnTo>
                    <a:pt x="2511" y="346"/>
                  </a:lnTo>
                  <a:lnTo>
                    <a:pt x="2518" y="344"/>
                  </a:lnTo>
                  <a:lnTo>
                    <a:pt x="2523" y="338"/>
                  </a:lnTo>
                  <a:lnTo>
                    <a:pt x="2527" y="332"/>
                  </a:lnTo>
                  <a:lnTo>
                    <a:pt x="2530" y="322"/>
                  </a:lnTo>
                  <a:lnTo>
                    <a:pt x="2533" y="311"/>
                  </a:lnTo>
                  <a:lnTo>
                    <a:pt x="2533" y="311"/>
                  </a:lnTo>
                  <a:lnTo>
                    <a:pt x="2536" y="296"/>
                  </a:lnTo>
                  <a:lnTo>
                    <a:pt x="2539" y="283"/>
                  </a:lnTo>
                  <a:lnTo>
                    <a:pt x="2545" y="274"/>
                  </a:lnTo>
                  <a:lnTo>
                    <a:pt x="2553" y="266"/>
                  </a:lnTo>
                  <a:lnTo>
                    <a:pt x="2562" y="261"/>
                  </a:lnTo>
                  <a:lnTo>
                    <a:pt x="2572" y="258"/>
                  </a:lnTo>
                  <a:lnTo>
                    <a:pt x="2586" y="258"/>
                  </a:lnTo>
                  <a:lnTo>
                    <a:pt x="2603" y="260"/>
                  </a:lnTo>
                  <a:lnTo>
                    <a:pt x="2603" y="260"/>
                  </a:lnTo>
                  <a:lnTo>
                    <a:pt x="2637" y="267"/>
                  </a:lnTo>
                  <a:lnTo>
                    <a:pt x="2672" y="274"/>
                  </a:lnTo>
                  <a:lnTo>
                    <a:pt x="2672" y="274"/>
                  </a:lnTo>
                  <a:lnTo>
                    <a:pt x="2681" y="275"/>
                  </a:lnTo>
                  <a:lnTo>
                    <a:pt x="2681" y="275"/>
                  </a:lnTo>
                  <a:lnTo>
                    <a:pt x="2693" y="275"/>
                  </a:lnTo>
                  <a:lnTo>
                    <a:pt x="2702" y="274"/>
                  </a:lnTo>
                  <a:lnTo>
                    <a:pt x="2710" y="272"/>
                  </a:lnTo>
                  <a:lnTo>
                    <a:pt x="2713" y="269"/>
                  </a:lnTo>
                  <a:lnTo>
                    <a:pt x="2716" y="263"/>
                  </a:lnTo>
                  <a:lnTo>
                    <a:pt x="2714" y="257"/>
                  </a:lnTo>
                  <a:lnTo>
                    <a:pt x="2713" y="248"/>
                  </a:lnTo>
                  <a:lnTo>
                    <a:pt x="2708" y="237"/>
                  </a:lnTo>
                  <a:lnTo>
                    <a:pt x="2708" y="237"/>
                  </a:lnTo>
                  <a:lnTo>
                    <a:pt x="2704" y="228"/>
                  </a:lnTo>
                  <a:lnTo>
                    <a:pt x="2701" y="218"/>
                  </a:lnTo>
                  <a:lnTo>
                    <a:pt x="2699" y="209"/>
                  </a:lnTo>
                  <a:lnTo>
                    <a:pt x="2699" y="198"/>
                  </a:lnTo>
                  <a:lnTo>
                    <a:pt x="2701" y="189"/>
                  </a:lnTo>
                  <a:lnTo>
                    <a:pt x="2702" y="180"/>
                  </a:lnTo>
                  <a:lnTo>
                    <a:pt x="2707" y="171"/>
                  </a:lnTo>
                  <a:lnTo>
                    <a:pt x="2713" y="160"/>
                  </a:lnTo>
                  <a:lnTo>
                    <a:pt x="2713" y="160"/>
                  </a:lnTo>
                  <a:lnTo>
                    <a:pt x="2719" y="153"/>
                  </a:lnTo>
                  <a:lnTo>
                    <a:pt x="2723" y="145"/>
                  </a:lnTo>
                  <a:lnTo>
                    <a:pt x="2725" y="136"/>
                  </a:lnTo>
                  <a:lnTo>
                    <a:pt x="2725" y="127"/>
                  </a:lnTo>
                  <a:lnTo>
                    <a:pt x="2725" y="127"/>
                  </a:lnTo>
                  <a:lnTo>
                    <a:pt x="2723" y="122"/>
                  </a:lnTo>
                  <a:lnTo>
                    <a:pt x="2722" y="119"/>
                  </a:lnTo>
                  <a:lnTo>
                    <a:pt x="2720" y="118"/>
                  </a:lnTo>
                  <a:lnTo>
                    <a:pt x="2719" y="118"/>
                  </a:lnTo>
                  <a:lnTo>
                    <a:pt x="2714" y="121"/>
                  </a:lnTo>
                  <a:lnTo>
                    <a:pt x="2714" y="121"/>
                  </a:lnTo>
                  <a:lnTo>
                    <a:pt x="2710" y="122"/>
                  </a:lnTo>
                  <a:lnTo>
                    <a:pt x="2707" y="124"/>
                  </a:lnTo>
                  <a:lnTo>
                    <a:pt x="2702" y="125"/>
                  </a:lnTo>
                  <a:lnTo>
                    <a:pt x="2699" y="124"/>
                  </a:lnTo>
                  <a:lnTo>
                    <a:pt x="2693" y="122"/>
                  </a:lnTo>
                  <a:lnTo>
                    <a:pt x="2686" y="116"/>
                  </a:lnTo>
                  <a:lnTo>
                    <a:pt x="2686" y="116"/>
                  </a:lnTo>
                  <a:lnTo>
                    <a:pt x="2681" y="110"/>
                  </a:lnTo>
                  <a:lnTo>
                    <a:pt x="2678" y="104"/>
                  </a:lnTo>
                  <a:lnTo>
                    <a:pt x="2677" y="97"/>
                  </a:lnTo>
                  <a:lnTo>
                    <a:pt x="2678" y="88"/>
                  </a:lnTo>
                  <a:lnTo>
                    <a:pt x="2678" y="88"/>
                  </a:lnTo>
                  <a:lnTo>
                    <a:pt x="2681" y="80"/>
                  </a:lnTo>
                  <a:lnTo>
                    <a:pt x="2687" y="73"/>
                  </a:lnTo>
                  <a:lnTo>
                    <a:pt x="2693" y="65"/>
                  </a:lnTo>
                  <a:lnTo>
                    <a:pt x="2701" y="58"/>
                  </a:lnTo>
                  <a:lnTo>
                    <a:pt x="2708" y="51"/>
                  </a:lnTo>
                  <a:lnTo>
                    <a:pt x="2717" y="47"/>
                  </a:lnTo>
                  <a:lnTo>
                    <a:pt x="2726" y="44"/>
                  </a:lnTo>
                  <a:lnTo>
                    <a:pt x="2736" y="42"/>
                  </a:lnTo>
                  <a:lnTo>
                    <a:pt x="2736" y="42"/>
                  </a:lnTo>
                  <a:lnTo>
                    <a:pt x="2754" y="44"/>
                  </a:lnTo>
                  <a:lnTo>
                    <a:pt x="2772" y="45"/>
                  </a:lnTo>
                  <a:lnTo>
                    <a:pt x="2790" y="50"/>
                  </a:lnTo>
                  <a:lnTo>
                    <a:pt x="2806" y="58"/>
                  </a:lnTo>
                  <a:lnTo>
                    <a:pt x="2806" y="58"/>
                  </a:lnTo>
                  <a:lnTo>
                    <a:pt x="2814" y="61"/>
                  </a:lnTo>
                  <a:lnTo>
                    <a:pt x="2817" y="65"/>
                  </a:lnTo>
                  <a:lnTo>
                    <a:pt x="2819" y="71"/>
                  </a:lnTo>
                  <a:lnTo>
                    <a:pt x="2817" y="79"/>
                  </a:lnTo>
                  <a:lnTo>
                    <a:pt x="2817" y="79"/>
                  </a:lnTo>
                  <a:lnTo>
                    <a:pt x="2816" y="83"/>
                  </a:lnTo>
                  <a:lnTo>
                    <a:pt x="2816" y="86"/>
                  </a:lnTo>
                  <a:lnTo>
                    <a:pt x="2819" y="88"/>
                  </a:lnTo>
                  <a:lnTo>
                    <a:pt x="2819" y="88"/>
                  </a:lnTo>
                  <a:lnTo>
                    <a:pt x="2826" y="89"/>
                  </a:lnTo>
                  <a:lnTo>
                    <a:pt x="2834" y="89"/>
                  </a:lnTo>
                  <a:lnTo>
                    <a:pt x="2834" y="89"/>
                  </a:lnTo>
                  <a:lnTo>
                    <a:pt x="2837" y="88"/>
                  </a:lnTo>
                  <a:lnTo>
                    <a:pt x="2837" y="85"/>
                  </a:lnTo>
                  <a:lnTo>
                    <a:pt x="2837" y="80"/>
                  </a:lnTo>
                  <a:lnTo>
                    <a:pt x="2837" y="80"/>
                  </a:lnTo>
                  <a:lnTo>
                    <a:pt x="2835" y="74"/>
                  </a:lnTo>
                  <a:lnTo>
                    <a:pt x="2835" y="68"/>
                  </a:lnTo>
                  <a:lnTo>
                    <a:pt x="2837" y="64"/>
                  </a:lnTo>
                  <a:lnTo>
                    <a:pt x="2840" y="59"/>
                  </a:lnTo>
                  <a:lnTo>
                    <a:pt x="2846" y="51"/>
                  </a:lnTo>
                  <a:lnTo>
                    <a:pt x="2855" y="45"/>
                  </a:lnTo>
                  <a:lnTo>
                    <a:pt x="2855" y="45"/>
                  </a:lnTo>
                  <a:lnTo>
                    <a:pt x="2859" y="44"/>
                  </a:lnTo>
                  <a:lnTo>
                    <a:pt x="2865" y="42"/>
                  </a:lnTo>
                  <a:lnTo>
                    <a:pt x="2870" y="44"/>
                  </a:lnTo>
                  <a:lnTo>
                    <a:pt x="2873" y="45"/>
                  </a:lnTo>
                  <a:lnTo>
                    <a:pt x="2876" y="48"/>
                  </a:lnTo>
                  <a:lnTo>
                    <a:pt x="2879" y="51"/>
                  </a:lnTo>
                  <a:lnTo>
                    <a:pt x="2880" y="56"/>
                  </a:lnTo>
                  <a:lnTo>
                    <a:pt x="2880" y="62"/>
                  </a:lnTo>
                  <a:lnTo>
                    <a:pt x="2880" y="62"/>
                  </a:lnTo>
                  <a:lnTo>
                    <a:pt x="2880" y="70"/>
                  </a:lnTo>
                  <a:lnTo>
                    <a:pt x="2879" y="77"/>
                  </a:lnTo>
                  <a:lnTo>
                    <a:pt x="2879" y="77"/>
                  </a:lnTo>
                  <a:lnTo>
                    <a:pt x="2876" y="86"/>
                  </a:lnTo>
                  <a:lnTo>
                    <a:pt x="2874" y="91"/>
                  </a:lnTo>
                  <a:lnTo>
                    <a:pt x="2876" y="92"/>
                  </a:lnTo>
                  <a:lnTo>
                    <a:pt x="2877" y="94"/>
                  </a:lnTo>
                  <a:lnTo>
                    <a:pt x="2877" y="94"/>
                  </a:lnTo>
                  <a:lnTo>
                    <a:pt x="2879" y="95"/>
                  </a:lnTo>
                  <a:lnTo>
                    <a:pt x="2882" y="95"/>
                  </a:lnTo>
                  <a:lnTo>
                    <a:pt x="2886" y="95"/>
                  </a:lnTo>
                  <a:lnTo>
                    <a:pt x="2897" y="89"/>
                  </a:lnTo>
                  <a:lnTo>
                    <a:pt x="2897" y="89"/>
                  </a:lnTo>
                  <a:lnTo>
                    <a:pt x="2909" y="83"/>
                  </a:lnTo>
                  <a:lnTo>
                    <a:pt x="2923" y="77"/>
                  </a:lnTo>
                  <a:lnTo>
                    <a:pt x="2923" y="77"/>
                  </a:lnTo>
                  <a:lnTo>
                    <a:pt x="2932" y="76"/>
                  </a:lnTo>
                  <a:lnTo>
                    <a:pt x="2935" y="77"/>
                  </a:lnTo>
                  <a:lnTo>
                    <a:pt x="2939" y="79"/>
                  </a:lnTo>
                  <a:lnTo>
                    <a:pt x="2941" y="80"/>
                  </a:lnTo>
                  <a:lnTo>
                    <a:pt x="2944" y="83"/>
                  </a:lnTo>
                  <a:lnTo>
                    <a:pt x="2945" y="88"/>
                  </a:lnTo>
                  <a:lnTo>
                    <a:pt x="2945" y="92"/>
                  </a:lnTo>
                  <a:lnTo>
                    <a:pt x="2945" y="92"/>
                  </a:lnTo>
                  <a:lnTo>
                    <a:pt x="2947" y="98"/>
                  </a:lnTo>
                  <a:lnTo>
                    <a:pt x="2948" y="101"/>
                  </a:lnTo>
                  <a:lnTo>
                    <a:pt x="2953" y="103"/>
                  </a:lnTo>
                  <a:lnTo>
                    <a:pt x="2959" y="103"/>
                  </a:lnTo>
                  <a:lnTo>
                    <a:pt x="2959" y="103"/>
                  </a:lnTo>
                  <a:lnTo>
                    <a:pt x="2963" y="103"/>
                  </a:lnTo>
                  <a:lnTo>
                    <a:pt x="2970" y="104"/>
                  </a:lnTo>
                  <a:lnTo>
                    <a:pt x="2973" y="107"/>
                  </a:lnTo>
                  <a:lnTo>
                    <a:pt x="2976" y="110"/>
                  </a:lnTo>
                  <a:lnTo>
                    <a:pt x="2982" y="118"/>
                  </a:lnTo>
                  <a:lnTo>
                    <a:pt x="2986" y="125"/>
                  </a:lnTo>
                  <a:lnTo>
                    <a:pt x="2986" y="125"/>
                  </a:lnTo>
                  <a:lnTo>
                    <a:pt x="2991" y="136"/>
                  </a:lnTo>
                  <a:lnTo>
                    <a:pt x="2992" y="147"/>
                  </a:lnTo>
                  <a:lnTo>
                    <a:pt x="2992" y="151"/>
                  </a:lnTo>
                  <a:lnTo>
                    <a:pt x="2991" y="156"/>
                  </a:lnTo>
                  <a:lnTo>
                    <a:pt x="2988" y="160"/>
                  </a:lnTo>
                  <a:lnTo>
                    <a:pt x="2983" y="165"/>
                  </a:lnTo>
                  <a:lnTo>
                    <a:pt x="2983" y="165"/>
                  </a:lnTo>
                  <a:lnTo>
                    <a:pt x="2977" y="171"/>
                  </a:lnTo>
                  <a:lnTo>
                    <a:pt x="2974" y="177"/>
                  </a:lnTo>
                  <a:lnTo>
                    <a:pt x="2971" y="181"/>
                  </a:lnTo>
                  <a:lnTo>
                    <a:pt x="2970" y="189"/>
                  </a:lnTo>
                  <a:lnTo>
                    <a:pt x="2968" y="195"/>
                  </a:lnTo>
                  <a:lnTo>
                    <a:pt x="2968" y="201"/>
                  </a:lnTo>
                  <a:lnTo>
                    <a:pt x="2971" y="215"/>
                  </a:lnTo>
                  <a:lnTo>
                    <a:pt x="2971" y="215"/>
                  </a:lnTo>
                  <a:lnTo>
                    <a:pt x="2976" y="228"/>
                  </a:lnTo>
                  <a:lnTo>
                    <a:pt x="2980" y="240"/>
                  </a:lnTo>
                  <a:lnTo>
                    <a:pt x="2986" y="251"/>
                  </a:lnTo>
                  <a:lnTo>
                    <a:pt x="2994" y="261"/>
                  </a:lnTo>
                  <a:lnTo>
                    <a:pt x="3001" y="270"/>
                  </a:lnTo>
                  <a:lnTo>
                    <a:pt x="3012" y="278"/>
                  </a:lnTo>
                  <a:lnTo>
                    <a:pt x="3024" y="283"/>
                  </a:lnTo>
                  <a:lnTo>
                    <a:pt x="3039" y="287"/>
                  </a:lnTo>
                  <a:lnTo>
                    <a:pt x="3039" y="287"/>
                  </a:lnTo>
                  <a:lnTo>
                    <a:pt x="3045" y="289"/>
                  </a:lnTo>
                  <a:lnTo>
                    <a:pt x="3050" y="292"/>
                  </a:lnTo>
                  <a:lnTo>
                    <a:pt x="3054" y="295"/>
                  </a:lnTo>
                  <a:lnTo>
                    <a:pt x="3059" y="299"/>
                  </a:lnTo>
                  <a:lnTo>
                    <a:pt x="3060" y="304"/>
                  </a:lnTo>
                  <a:lnTo>
                    <a:pt x="3062" y="310"/>
                  </a:lnTo>
                  <a:lnTo>
                    <a:pt x="3065" y="325"/>
                  </a:lnTo>
                  <a:lnTo>
                    <a:pt x="3065" y="325"/>
                  </a:lnTo>
                  <a:lnTo>
                    <a:pt x="3065" y="382"/>
                  </a:lnTo>
                  <a:lnTo>
                    <a:pt x="3065" y="382"/>
                  </a:lnTo>
                  <a:lnTo>
                    <a:pt x="3065" y="391"/>
                  </a:lnTo>
                  <a:lnTo>
                    <a:pt x="3066" y="396"/>
                  </a:lnTo>
                  <a:lnTo>
                    <a:pt x="3071" y="399"/>
                  </a:lnTo>
                  <a:lnTo>
                    <a:pt x="3071" y="399"/>
                  </a:lnTo>
                  <a:lnTo>
                    <a:pt x="3074" y="399"/>
                  </a:lnTo>
                  <a:lnTo>
                    <a:pt x="3075" y="399"/>
                  </a:lnTo>
                  <a:lnTo>
                    <a:pt x="3080" y="396"/>
                  </a:lnTo>
                  <a:lnTo>
                    <a:pt x="3083" y="391"/>
                  </a:lnTo>
                  <a:lnTo>
                    <a:pt x="3084" y="387"/>
                  </a:lnTo>
                  <a:lnTo>
                    <a:pt x="3084" y="387"/>
                  </a:lnTo>
                  <a:lnTo>
                    <a:pt x="3090" y="373"/>
                  </a:lnTo>
                  <a:lnTo>
                    <a:pt x="3098" y="364"/>
                  </a:lnTo>
                  <a:lnTo>
                    <a:pt x="3105" y="357"/>
                  </a:lnTo>
                  <a:lnTo>
                    <a:pt x="3114" y="352"/>
                  </a:lnTo>
                  <a:lnTo>
                    <a:pt x="3125" y="351"/>
                  </a:lnTo>
                  <a:lnTo>
                    <a:pt x="3137" y="352"/>
                  </a:lnTo>
                  <a:lnTo>
                    <a:pt x="3151" y="358"/>
                  </a:lnTo>
                  <a:lnTo>
                    <a:pt x="3169" y="367"/>
                  </a:lnTo>
                  <a:lnTo>
                    <a:pt x="3169" y="367"/>
                  </a:lnTo>
                  <a:lnTo>
                    <a:pt x="3187" y="379"/>
                  </a:lnTo>
                  <a:lnTo>
                    <a:pt x="3187" y="379"/>
                  </a:lnTo>
                  <a:lnTo>
                    <a:pt x="3199" y="387"/>
                  </a:lnTo>
                  <a:lnTo>
                    <a:pt x="3213" y="391"/>
                  </a:lnTo>
                  <a:lnTo>
                    <a:pt x="3226" y="393"/>
                  </a:lnTo>
                  <a:lnTo>
                    <a:pt x="3240" y="393"/>
                  </a:lnTo>
                  <a:lnTo>
                    <a:pt x="3240" y="393"/>
                  </a:lnTo>
                  <a:lnTo>
                    <a:pt x="3249" y="391"/>
                  </a:lnTo>
                  <a:lnTo>
                    <a:pt x="3258" y="391"/>
                  </a:lnTo>
                  <a:lnTo>
                    <a:pt x="3267" y="393"/>
                  </a:lnTo>
                  <a:lnTo>
                    <a:pt x="3275" y="394"/>
                  </a:lnTo>
                  <a:lnTo>
                    <a:pt x="3291" y="402"/>
                  </a:lnTo>
                  <a:lnTo>
                    <a:pt x="3306" y="411"/>
                  </a:lnTo>
                  <a:lnTo>
                    <a:pt x="3306" y="411"/>
                  </a:lnTo>
                  <a:lnTo>
                    <a:pt x="3324" y="426"/>
                  </a:lnTo>
                  <a:lnTo>
                    <a:pt x="3344" y="440"/>
                  </a:lnTo>
                  <a:lnTo>
                    <a:pt x="3344" y="440"/>
                  </a:lnTo>
                  <a:lnTo>
                    <a:pt x="3350" y="443"/>
                  </a:lnTo>
                  <a:lnTo>
                    <a:pt x="3358" y="447"/>
                  </a:lnTo>
                  <a:lnTo>
                    <a:pt x="3365" y="449"/>
                  </a:lnTo>
                  <a:lnTo>
                    <a:pt x="3373" y="450"/>
                  </a:lnTo>
                  <a:lnTo>
                    <a:pt x="3379" y="450"/>
                  </a:lnTo>
                  <a:lnTo>
                    <a:pt x="3386" y="449"/>
                  </a:lnTo>
                  <a:lnTo>
                    <a:pt x="3394" y="446"/>
                  </a:lnTo>
                  <a:lnTo>
                    <a:pt x="3401" y="441"/>
                  </a:lnTo>
                  <a:lnTo>
                    <a:pt x="3401" y="441"/>
                  </a:lnTo>
                  <a:lnTo>
                    <a:pt x="3418" y="432"/>
                  </a:lnTo>
                  <a:lnTo>
                    <a:pt x="3436" y="423"/>
                  </a:lnTo>
                  <a:lnTo>
                    <a:pt x="3436" y="423"/>
                  </a:lnTo>
                  <a:lnTo>
                    <a:pt x="3447" y="420"/>
                  </a:lnTo>
                  <a:lnTo>
                    <a:pt x="3457" y="419"/>
                  </a:lnTo>
                  <a:lnTo>
                    <a:pt x="3466" y="419"/>
                  </a:lnTo>
                  <a:lnTo>
                    <a:pt x="3475" y="422"/>
                  </a:lnTo>
                  <a:lnTo>
                    <a:pt x="3483" y="428"/>
                  </a:lnTo>
                  <a:lnTo>
                    <a:pt x="3489" y="434"/>
                  </a:lnTo>
                  <a:lnTo>
                    <a:pt x="3493" y="444"/>
                  </a:lnTo>
                  <a:lnTo>
                    <a:pt x="3498" y="455"/>
                  </a:lnTo>
                  <a:lnTo>
                    <a:pt x="3498" y="455"/>
                  </a:lnTo>
                  <a:lnTo>
                    <a:pt x="3501" y="474"/>
                  </a:lnTo>
                  <a:lnTo>
                    <a:pt x="3504" y="494"/>
                  </a:lnTo>
                  <a:lnTo>
                    <a:pt x="3504" y="494"/>
                  </a:lnTo>
                  <a:lnTo>
                    <a:pt x="3507" y="515"/>
                  </a:lnTo>
                  <a:lnTo>
                    <a:pt x="3507" y="515"/>
                  </a:lnTo>
                  <a:lnTo>
                    <a:pt x="3510" y="524"/>
                  </a:lnTo>
                  <a:lnTo>
                    <a:pt x="3513" y="530"/>
                  </a:lnTo>
                  <a:lnTo>
                    <a:pt x="3516" y="536"/>
                  </a:lnTo>
                  <a:lnTo>
                    <a:pt x="3522" y="539"/>
                  </a:lnTo>
                  <a:lnTo>
                    <a:pt x="3527" y="542"/>
                  </a:lnTo>
                  <a:lnTo>
                    <a:pt x="3534" y="542"/>
                  </a:lnTo>
                  <a:lnTo>
                    <a:pt x="3540" y="542"/>
                  </a:lnTo>
                  <a:lnTo>
                    <a:pt x="3549" y="541"/>
                  </a:lnTo>
                  <a:lnTo>
                    <a:pt x="3549" y="541"/>
                  </a:lnTo>
                  <a:lnTo>
                    <a:pt x="3573" y="530"/>
                  </a:lnTo>
                  <a:lnTo>
                    <a:pt x="3599" y="521"/>
                  </a:lnTo>
                  <a:lnTo>
                    <a:pt x="3599" y="521"/>
                  </a:lnTo>
                  <a:lnTo>
                    <a:pt x="3611" y="518"/>
                  </a:lnTo>
                  <a:lnTo>
                    <a:pt x="3622" y="518"/>
                  </a:lnTo>
                  <a:lnTo>
                    <a:pt x="3631" y="520"/>
                  </a:lnTo>
                  <a:lnTo>
                    <a:pt x="3640" y="523"/>
                  </a:lnTo>
                  <a:lnTo>
                    <a:pt x="3649" y="527"/>
                  </a:lnTo>
                  <a:lnTo>
                    <a:pt x="3656" y="535"/>
                  </a:lnTo>
                  <a:lnTo>
                    <a:pt x="3663" y="544"/>
                  </a:lnTo>
                  <a:lnTo>
                    <a:pt x="3667" y="554"/>
                  </a:lnTo>
                  <a:lnTo>
                    <a:pt x="3667" y="554"/>
                  </a:lnTo>
                  <a:lnTo>
                    <a:pt x="3670" y="567"/>
                  </a:lnTo>
                  <a:lnTo>
                    <a:pt x="3673" y="579"/>
                  </a:lnTo>
                  <a:lnTo>
                    <a:pt x="3675" y="604"/>
                  </a:lnTo>
                  <a:lnTo>
                    <a:pt x="3675" y="604"/>
                  </a:lnTo>
                  <a:lnTo>
                    <a:pt x="3675" y="609"/>
                  </a:lnTo>
                  <a:lnTo>
                    <a:pt x="3673" y="613"/>
                  </a:lnTo>
                  <a:lnTo>
                    <a:pt x="3669" y="619"/>
                  </a:lnTo>
                  <a:lnTo>
                    <a:pt x="3663" y="624"/>
                  </a:lnTo>
                  <a:lnTo>
                    <a:pt x="3655" y="628"/>
                  </a:lnTo>
                  <a:lnTo>
                    <a:pt x="3655" y="628"/>
                  </a:lnTo>
                  <a:lnTo>
                    <a:pt x="3649" y="630"/>
                  </a:lnTo>
                  <a:lnTo>
                    <a:pt x="3646" y="633"/>
                  </a:lnTo>
                  <a:lnTo>
                    <a:pt x="3646" y="636"/>
                  </a:lnTo>
                  <a:lnTo>
                    <a:pt x="3646" y="636"/>
                  </a:lnTo>
                  <a:lnTo>
                    <a:pt x="3647" y="639"/>
                  </a:lnTo>
                  <a:lnTo>
                    <a:pt x="3650" y="641"/>
                  </a:lnTo>
                  <a:lnTo>
                    <a:pt x="3656" y="642"/>
                  </a:lnTo>
                  <a:lnTo>
                    <a:pt x="3656" y="642"/>
                  </a:lnTo>
                  <a:lnTo>
                    <a:pt x="3664" y="644"/>
                  </a:lnTo>
                  <a:lnTo>
                    <a:pt x="3672" y="645"/>
                  </a:lnTo>
                  <a:lnTo>
                    <a:pt x="3678" y="644"/>
                  </a:lnTo>
                  <a:lnTo>
                    <a:pt x="3684" y="641"/>
                  </a:lnTo>
                  <a:lnTo>
                    <a:pt x="3688" y="636"/>
                  </a:lnTo>
                  <a:lnTo>
                    <a:pt x="3691" y="631"/>
                  </a:lnTo>
                  <a:lnTo>
                    <a:pt x="3694" y="625"/>
                  </a:lnTo>
                  <a:lnTo>
                    <a:pt x="3696" y="616"/>
                  </a:lnTo>
                  <a:lnTo>
                    <a:pt x="3696" y="616"/>
                  </a:lnTo>
                  <a:lnTo>
                    <a:pt x="3697" y="598"/>
                  </a:lnTo>
                  <a:lnTo>
                    <a:pt x="3700" y="591"/>
                  </a:lnTo>
                  <a:lnTo>
                    <a:pt x="3705" y="582"/>
                  </a:lnTo>
                  <a:lnTo>
                    <a:pt x="3705" y="582"/>
                  </a:lnTo>
                  <a:lnTo>
                    <a:pt x="3711" y="571"/>
                  </a:lnTo>
                  <a:lnTo>
                    <a:pt x="3717" y="564"/>
                  </a:lnTo>
                  <a:lnTo>
                    <a:pt x="3724" y="556"/>
                  </a:lnTo>
                  <a:lnTo>
                    <a:pt x="3730" y="553"/>
                  </a:lnTo>
                  <a:lnTo>
                    <a:pt x="3740" y="550"/>
                  </a:lnTo>
                  <a:lnTo>
                    <a:pt x="3749" y="550"/>
                  </a:lnTo>
                  <a:lnTo>
                    <a:pt x="3759" y="553"/>
                  </a:lnTo>
                  <a:lnTo>
                    <a:pt x="3770" y="556"/>
                  </a:lnTo>
                  <a:lnTo>
                    <a:pt x="3770" y="556"/>
                  </a:lnTo>
                  <a:lnTo>
                    <a:pt x="3785" y="562"/>
                  </a:lnTo>
                  <a:lnTo>
                    <a:pt x="3800" y="570"/>
                  </a:lnTo>
                  <a:lnTo>
                    <a:pt x="3806" y="574"/>
                  </a:lnTo>
                  <a:lnTo>
                    <a:pt x="3812" y="580"/>
                  </a:lnTo>
                  <a:lnTo>
                    <a:pt x="3817" y="588"/>
                  </a:lnTo>
                  <a:lnTo>
                    <a:pt x="3821" y="595"/>
                  </a:lnTo>
                  <a:lnTo>
                    <a:pt x="3821" y="595"/>
                  </a:lnTo>
                  <a:lnTo>
                    <a:pt x="3821" y="598"/>
                  </a:lnTo>
                  <a:lnTo>
                    <a:pt x="3824" y="600"/>
                  </a:lnTo>
                  <a:lnTo>
                    <a:pt x="3830" y="598"/>
                  </a:lnTo>
                  <a:lnTo>
                    <a:pt x="3838" y="595"/>
                  </a:lnTo>
                  <a:lnTo>
                    <a:pt x="3844" y="589"/>
                  </a:lnTo>
                  <a:lnTo>
                    <a:pt x="3844" y="589"/>
                  </a:lnTo>
                  <a:lnTo>
                    <a:pt x="3845" y="583"/>
                  </a:lnTo>
                  <a:lnTo>
                    <a:pt x="3847" y="577"/>
                  </a:lnTo>
                  <a:lnTo>
                    <a:pt x="3847" y="565"/>
                  </a:lnTo>
                  <a:lnTo>
                    <a:pt x="3847" y="565"/>
                  </a:lnTo>
                  <a:lnTo>
                    <a:pt x="3847" y="550"/>
                  </a:lnTo>
                  <a:lnTo>
                    <a:pt x="3848" y="545"/>
                  </a:lnTo>
                  <a:lnTo>
                    <a:pt x="3851" y="541"/>
                  </a:lnTo>
                  <a:lnTo>
                    <a:pt x="3856" y="538"/>
                  </a:lnTo>
                  <a:lnTo>
                    <a:pt x="3860" y="535"/>
                  </a:lnTo>
                  <a:lnTo>
                    <a:pt x="3874" y="530"/>
                  </a:lnTo>
                  <a:lnTo>
                    <a:pt x="3874" y="530"/>
                  </a:lnTo>
                  <a:lnTo>
                    <a:pt x="3892" y="529"/>
                  </a:lnTo>
                  <a:lnTo>
                    <a:pt x="3909" y="529"/>
                  </a:lnTo>
                  <a:lnTo>
                    <a:pt x="3925" y="532"/>
                  </a:lnTo>
                  <a:lnTo>
                    <a:pt x="3940" y="535"/>
                  </a:lnTo>
                  <a:lnTo>
                    <a:pt x="3955" y="541"/>
                  </a:lnTo>
                  <a:lnTo>
                    <a:pt x="3969" y="548"/>
                  </a:lnTo>
                  <a:lnTo>
                    <a:pt x="3984" y="559"/>
                  </a:lnTo>
                  <a:lnTo>
                    <a:pt x="3996" y="570"/>
                  </a:lnTo>
                  <a:lnTo>
                    <a:pt x="3996" y="570"/>
                  </a:lnTo>
                  <a:lnTo>
                    <a:pt x="4016" y="589"/>
                  </a:lnTo>
                  <a:lnTo>
                    <a:pt x="4032" y="610"/>
                  </a:lnTo>
                  <a:lnTo>
                    <a:pt x="4066" y="653"/>
                  </a:lnTo>
                  <a:lnTo>
                    <a:pt x="4066" y="653"/>
                  </a:lnTo>
                  <a:lnTo>
                    <a:pt x="4069" y="657"/>
                  </a:lnTo>
                  <a:lnTo>
                    <a:pt x="4070" y="663"/>
                  </a:lnTo>
                  <a:lnTo>
                    <a:pt x="4072" y="668"/>
                  </a:lnTo>
                  <a:lnTo>
                    <a:pt x="4070" y="672"/>
                  </a:lnTo>
                  <a:lnTo>
                    <a:pt x="4067" y="675"/>
                  </a:lnTo>
                  <a:lnTo>
                    <a:pt x="4064" y="680"/>
                  </a:lnTo>
                  <a:lnTo>
                    <a:pt x="4060" y="681"/>
                  </a:lnTo>
                  <a:lnTo>
                    <a:pt x="4054" y="684"/>
                  </a:lnTo>
                  <a:lnTo>
                    <a:pt x="4054" y="684"/>
                  </a:lnTo>
                  <a:lnTo>
                    <a:pt x="4043" y="686"/>
                  </a:lnTo>
                  <a:lnTo>
                    <a:pt x="4038" y="689"/>
                  </a:lnTo>
                  <a:lnTo>
                    <a:pt x="4035" y="690"/>
                  </a:lnTo>
                  <a:lnTo>
                    <a:pt x="4034" y="693"/>
                  </a:lnTo>
                  <a:lnTo>
                    <a:pt x="4034" y="698"/>
                  </a:lnTo>
                  <a:lnTo>
                    <a:pt x="4035" y="702"/>
                  </a:lnTo>
                  <a:lnTo>
                    <a:pt x="4038" y="709"/>
                  </a:lnTo>
                  <a:lnTo>
                    <a:pt x="4038" y="709"/>
                  </a:lnTo>
                  <a:lnTo>
                    <a:pt x="4040" y="712"/>
                  </a:lnTo>
                  <a:lnTo>
                    <a:pt x="4038" y="713"/>
                  </a:lnTo>
                  <a:lnTo>
                    <a:pt x="4038" y="713"/>
                  </a:lnTo>
                  <a:lnTo>
                    <a:pt x="4034" y="721"/>
                  </a:lnTo>
                  <a:lnTo>
                    <a:pt x="4031" y="728"/>
                  </a:lnTo>
                  <a:lnTo>
                    <a:pt x="4028" y="745"/>
                  </a:lnTo>
                  <a:lnTo>
                    <a:pt x="4025" y="752"/>
                  </a:lnTo>
                  <a:lnTo>
                    <a:pt x="4023" y="761"/>
                  </a:lnTo>
                  <a:lnTo>
                    <a:pt x="4019" y="769"/>
                  </a:lnTo>
                  <a:lnTo>
                    <a:pt x="4013" y="775"/>
                  </a:lnTo>
                  <a:lnTo>
                    <a:pt x="4013" y="775"/>
                  </a:lnTo>
                  <a:lnTo>
                    <a:pt x="4002" y="784"/>
                  </a:lnTo>
                  <a:lnTo>
                    <a:pt x="3989" y="790"/>
                  </a:lnTo>
                  <a:lnTo>
                    <a:pt x="3983" y="792"/>
                  </a:lnTo>
                  <a:lnTo>
                    <a:pt x="3977" y="793"/>
                  </a:lnTo>
                  <a:lnTo>
                    <a:pt x="3969" y="793"/>
                  </a:lnTo>
                  <a:lnTo>
                    <a:pt x="3961" y="792"/>
                  </a:lnTo>
                  <a:lnTo>
                    <a:pt x="3961" y="792"/>
                  </a:lnTo>
                  <a:lnTo>
                    <a:pt x="3952" y="789"/>
                  </a:lnTo>
                  <a:lnTo>
                    <a:pt x="3948" y="790"/>
                  </a:lnTo>
                  <a:lnTo>
                    <a:pt x="3945" y="792"/>
                  </a:lnTo>
                  <a:lnTo>
                    <a:pt x="3942" y="793"/>
                  </a:lnTo>
                  <a:lnTo>
                    <a:pt x="3940" y="798"/>
                  </a:lnTo>
                  <a:lnTo>
                    <a:pt x="3939" y="808"/>
                  </a:lnTo>
                  <a:lnTo>
                    <a:pt x="3939" y="808"/>
                  </a:lnTo>
                  <a:lnTo>
                    <a:pt x="3936" y="820"/>
                  </a:lnTo>
                  <a:lnTo>
                    <a:pt x="3934" y="823"/>
                  </a:lnTo>
                  <a:lnTo>
                    <a:pt x="3931" y="826"/>
                  </a:lnTo>
                  <a:lnTo>
                    <a:pt x="3927" y="828"/>
                  </a:lnTo>
                  <a:lnTo>
                    <a:pt x="3922" y="828"/>
                  </a:lnTo>
                  <a:lnTo>
                    <a:pt x="3910" y="825"/>
                  </a:lnTo>
                  <a:lnTo>
                    <a:pt x="3910" y="825"/>
                  </a:lnTo>
                  <a:lnTo>
                    <a:pt x="3904" y="825"/>
                  </a:lnTo>
                  <a:lnTo>
                    <a:pt x="3900" y="825"/>
                  </a:lnTo>
                  <a:lnTo>
                    <a:pt x="3897" y="826"/>
                  </a:lnTo>
                  <a:lnTo>
                    <a:pt x="3892" y="828"/>
                  </a:lnTo>
                  <a:lnTo>
                    <a:pt x="3886" y="834"/>
                  </a:lnTo>
                  <a:lnTo>
                    <a:pt x="3878" y="841"/>
                  </a:lnTo>
                  <a:lnTo>
                    <a:pt x="3878" y="841"/>
                  </a:lnTo>
                  <a:lnTo>
                    <a:pt x="3875" y="844"/>
                  </a:lnTo>
                  <a:lnTo>
                    <a:pt x="3871" y="849"/>
                  </a:lnTo>
                  <a:lnTo>
                    <a:pt x="3871" y="854"/>
                  </a:lnTo>
                  <a:lnTo>
                    <a:pt x="3871" y="857"/>
                  </a:lnTo>
                  <a:lnTo>
                    <a:pt x="3872" y="861"/>
                  </a:lnTo>
                  <a:lnTo>
                    <a:pt x="3872" y="861"/>
                  </a:lnTo>
                  <a:lnTo>
                    <a:pt x="3875" y="866"/>
                  </a:lnTo>
                  <a:lnTo>
                    <a:pt x="3877" y="872"/>
                  </a:lnTo>
                  <a:lnTo>
                    <a:pt x="3875" y="876"/>
                  </a:lnTo>
                  <a:lnTo>
                    <a:pt x="3871" y="882"/>
                  </a:lnTo>
                  <a:lnTo>
                    <a:pt x="3871" y="882"/>
                  </a:lnTo>
                  <a:lnTo>
                    <a:pt x="3868" y="884"/>
                  </a:lnTo>
                  <a:lnTo>
                    <a:pt x="3866" y="884"/>
                  </a:lnTo>
                  <a:lnTo>
                    <a:pt x="3860" y="882"/>
                  </a:lnTo>
                  <a:lnTo>
                    <a:pt x="3856" y="878"/>
                  </a:lnTo>
                  <a:lnTo>
                    <a:pt x="3851" y="873"/>
                  </a:lnTo>
                  <a:lnTo>
                    <a:pt x="3851" y="873"/>
                  </a:lnTo>
                  <a:lnTo>
                    <a:pt x="3848" y="884"/>
                  </a:lnTo>
                  <a:lnTo>
                    <a:pt x="3848" y="893"/>
                  </a:lnTo>
                  <a:lnTo>
                    <a:pt x="3850" y="900"/>
                  </a:lnTo>
                  <a:lnTo>
                    <a:pt x="3851" y="909"/>
                  </a:lnTo>
                  <a:lnTo>
                    <a:pt x="3851" y="909"/>
                  </a:lnTo>
                  <a:lnTo>
                    <a:pt x="3854" y="912"/>
                  </a:lnTo>
                  <a:lnTo>
                    <a:pt x="3857" y="914"/>
                  </a:lnTo>
                  <a:lnTo>
                    <a:pt x="3860" y="914"/>
                  </a:lnTo>
                  <a:lnTo>
                    <a:pt x="3863" y="912"/>
                  </a:lnTo>
                  <a:lnTo>
                    <a:pt x="3863" y="912"/>
                  </a:lnTo>
                  <a:lnTo>
                    <a:pt x="3868" y="911"/>
                  </a:lnTo>
                  <a:lnTo>
                    <a:pt x="3872" y="909"/>
                  </a:lnTo>
                  <a:lnTo>
                    <a:pt x="3877" y="911"/>
                  </a:lnTo>
                  <a:lnTo>
                    <a:pt x="3880" y="912"/>
                  </a:lnTo>
                  <a:lnTo>
                    <a:pt x="3886" y="917"/>
                  </a:lnTo>
                  <a:lnTo>
                    <a:pt x="3891" y="924"/>
                  </a:lnTo>
                  <a:lnTo>
                    <a:pt x="3891" y="924"/>
                  </a:lnTo>
                  <a:lnTo>
                    <a:pt x="3903" y="950"/>
                  </a:lnTo>
                  <a:lnTo>
                    <a:pt x="3916" y="979"/>
                  </a:lnTo>
                  <a:lnTo>
                    <a:pt x="3916" y="979"/>
                  </a:lnTo>
                  <a:lnTo>
                    <a:pt x="3919" y="971"/>
                  </a:lnTo>
                  <a:lnTo>
                    <a:pt x="3924" y="964"/>
                  </a:lnTo>
                  <a:lnTo>
                    <a:pt x="3930" y="959"/>
                  </a:lnTo>
                  <a:lnTo>
                    <a:pt x="3936" y="955"/>
                  </a:lnTo>
                  <a:lnTo>
                    <a:pt x="3942" y="953"/>
                  </a:lnTo>
                  <a:lnTo>
                    <a:pt x="3948" y="952"/>
                  </a:lnTo>
                  <a:lnTo>
                    <a:pt x="3963" y="950"/>
                  </a:lnTo>
                  <a:lnTo>
                    <a:pt x="3963" y="950"/>
                  </a:lnTo>
                  <a:lnTo>
                    <a:pt x="3974" y="950"/>
                  </a:lnTo>
                  <a:lnTo>
                    <a:pt x="3981" y="952"/>
                  </a:lnTo>
                  <a:lnTo>
                    <a:pt x="3989" y="955"/>
                  </a:lnTo>
                  <a:lnTo>
                    <a:pt x="3995" y="958"/>
                  </a:lnTo>
                  <a:lnTo>
                    <a:pt x="3999" y="962"/>
                  </a:lnTo>
                  <a:lnTo>
                    <a:pt x="4004" y="970"/>
                  </a:lnTo>
                  <a:lnTo>
                    <a:pt x="4007" y="977"/>
                  </a:lnTo>
                  <a:lnTo>
                    <a:pt x="4010" y="986"/>
                  </a:lnTo>
                  <a:lnTo>
                    <a:pt x="4010" y="986"/>
                  </a:lnTo>
                  <a:lnTo>
                    <a:pt x="4017" y="1023"/>
                  </a:lnTo>
                  <a:lnTo>
                    <a:pt x="4017" y="1023"/>
                  </a:lnTo>
                  <a:lnTo>
                    <a:pt x="4020" y="1030"/>
                  </a:lnTo>
                  <a:lnTo>
                    <a:pt x="4023" y="1035"/>
                  </a:lnTo>
                  <a:lnTo>
                    <a:pt x="4031" y="1038"/>
                  </a:lnTo>
                  <a:lnTo>
                    <a:pt x="4038" y="1038"/>
                  </a:lnTo>
                  <a:lnTo>
                    <a:pt x="4038" y="1038"/>
                  </a:lnTo>
                  <a:lnTo>
                    <a:pt x="4045" y="1036"/>
                  </a:lnTo>
                  <a:lnTo>
                    <a:pt x="4051" y="1036"/>
                  </a:lnTo>
                  <a:lnTo>
                    <a:pt x="4057" y="1036"/>
                  </a:lnTo>
                  <a:lnTo>
                    <a:pt x="4063" y="1038"/>
                  </a:lnTo>
                  <a:lnTo>
                    <a:pt x="4072" y="1044"/>
                  </a:lnTo>
                  <a:lnTo>
                    <a:pt x="4081" y="1053"/>
                  </a:lnTo>
                  <a:lnTo>
                    <a:pt x="4081" y="1053"/>
                  </a:lnTo>
                  <a:lnTo>
                    <a:pt x="4109" y="1080"/>
                  </a:lnTo>
                  <a:lnTo>
                    <a:pt x="4135" y="1110"/>
                  </a:lnTo>
                  <a:lnTo>
                    <a:pt x="4159" y="1142"/>
                  </a:lnTo>
                  <a:lnTo>
                    <a:pt x="4182" y="1175"/>
                  </a:lnTo>
                  <a:lnTo>
                    <a:pt x="4182" y="1175"/>
                  </a:lnTo>
                  <a:lnTo>
                    <a:pt x="4191" y="1193"/>
                  </a:lnTo>
                  <a:lnTo>
                    <a:pt x="4197" y="1211"/>
                  </a:lnTo>
                  <a:lnTo>
                    <a:pt x="4202" y="1230"/>
                  </a:lnTo>
                  <a:lnTo>
                    <a:pt x="4205" y="1249"/>
                  </a:lnTo>
                  <a:lnTo>
                    <a:pt x="4205" y="1249"/>
                  </a:lnTo>
                  <a:lnTo>
                    <a:pt x="4208" y="1270"/>
                  </a:lnTo>
                  <a:lnTo>
                    <a:pt x="4214" y="1290"/>
                  </a:lnTo>
                  <a:lnTo>
                    <a:pt x="4223" y="1307"/>
                  </a:lnTo>
                  <a:lnTo>
                    <a:pt x="4235" y="1322"/>
                  </a:lnTo>
                  <a:lnTo>
                    <a:pt x="4248" y="1335"/>
                  </a:lnTo>
                  <a:lnTo>
                    <a:pt x="4265" y="1346"/>
                  </a:lnTo>
                  <a:lnTo>
                    <a:pt x="4283" y="1353"/>
                  </a:lnTo>
                  <a:lnTo>
                    <a:pt x="4304" y="1359"/>
                  </a:lnTo>
                  <a:lnTo>
                    <a:pt x="4304" y="1359"/>
                  </a:lnTo>
                  <a:lnTo>
                    <a:pt x="4315" y="1359"/>
                  </a:lnTo>
                  <a:lnTo>
                    <a:pt x="4319" y="1359"/>
                  </a:lnTo>
                  <a:lnTo>
                    <a:pt x="4324" y="1358"/>
                  </a:lnTo>
                  <a:lnTo>
                    <a:pt x="4327" y="1355"/>
                  </a:lnTo>
                  <a:lnTo>
                    <a:pt x="4330" y="1352"/>
                  </a:lnTo>
                  <a:lnTo>
                    <a:pt x="4333" y="1349"/>
                  </a:lnTo>
                  <a:lnTo>
                    <a:pt x="4336" y="1343"/>
                  </a:lnTo>
                  <a:lnTo>
                    <a:pt x="4336" y="1343"/>
                  </a:lnTo>
                  <a:lnTo>
                    <a:pt x="4346" y="1319"/>
                  </a:lnTo>
                  <a:lnTo>
                    <a:pt x="4346" y="1319"/>
                  </a:lnTo>
                  <a:lnTo>
                    <a:pt x="4351" y="1310"/>
                  </a:lnTo>
                  <a:lnTo>
                    <a:pt x="4356" y="1304"/>
                  </a:lnTo>
                  <a:lnTo>
                    <a:pt x="4363" y="1299"/>
                  </a:lnTo>
                  <a:lnTo>
                    <a:pt x="4371" y="1296"/>
                  </a:lnTo>
                  <a:lnTo>
                    <a:pt x="4371" y="1296"/>
                  </a:lnTo>
                  <a:lnTo>
                    <a:pt x="4377" y="1295"/>
                  </a:lnTo>
                  <a:lnTo>
                    <a:pt x="4381" y="1292"/>
                  </a:lnTo>
                  <a:lnTo>
                    <a:pt x="4386" y="1290"/>
                  </a:lnTo>
                  <a:lnTo>
                    <a:pt x="4389" y="1285"/>
                  </a:lnTo>
                  <a:lnTo>
                    <a:pt x="4395" y="1278"/>
                  </a:lnTo>
                  <a:lnTo>
                    <a:pt x="4398" y="1267"/>
                  </a:lnTo>
                  <a:lnTo>
                    <a:pt x="4398" y="1267"/>
                  </a:lnTo>
                  <a:lnTo>
                    <a:pt x="4404" y="1246"/>
                  </a:lnTo>
                  <a:lnTo>
                    <a:pt x="4407" y="1234"/>
                  </a:lnTo>
                  <a:lnTo>
                    <a:pt x="4411" y="1225"/>
                  </a:lnTo>
                  <a:lnTo>
                    <a:pt x="4411" y="1225"/>
                  </a:lnTo>
                  <a:lnTo>
                    <a:pt x="4417" y="1214"/>
                  </a:lnTo>
                  <a:lnTo>
                    <a:pt x="4425" y="1207"/>
                  </a:lnTo>
                  <a:lnTo>
                    <a:pt x="4434" y="1199"/>
                  </a:lnTo>
                  <a:lnTo>
                    <a:pt x="4439" y="1198"/>
                  </a:lnTo>
                  <a:lnTo>
                    <a:pt x="4445" y="1196"/>
                  </a:lnTo>
                  <a:lnTo>
                    <a:pt x="4445" y="1196"/>
                  </a:lnTo>
                  <a:lnTo>
                    <a:pt x="4440" y="1201"/>
                  </a:lnTo>
                  <a:lnTo>
                    <a:pt x="4439" y="1205"/>
                  </a:lnTo>
                  <a:lnTo>
                    <a:pt x="4437" y="1218"/>
                  </a:lnTo>
                  <a:lnTo>
                    <a:pt x="4437" y="1218"/>
                  </a:lnTo>
                  <a:lnTo>
                    <a:pt x="4439" y="1231"/>
                  </a:lnTo>
                  <a:lnTo>
                    <a:pt x="4437" y="1239"/>
                  </a:lnTo>
                  <a:lnTo>
                    <a:pt x="4436" y="1245"/>
                  </a:lnTo>
                  <a:lnTo>
                    <a:pt x="4436" y="1245"/>
                  </a:lnTo>
                  <a:lnTo>
                    <a:pt x="4431" y="1254"/>
                  </a:lnTo>
                  <a:lnTo>
                    <a:pt x="4426" y="1263"/>
                  </a:lnTo>
                  <a:lnTo>
                    <a:pt x="4420" y="1282"/>
                  </a:lnTo>
                  <a:lnTo>
                    <a:pt x="4417" y="1302"/>
                  </a:lnTo>
                  <a:lnTo>
                    <a:pt x="4413" y="1322"/>
                  </a:lnTo>
                  <a:lnTo>
                    <a:pt x="4413" y="1322"/>
                  </a:lnTo>
                  <a:lnTo>
                    <a:pt x="4411" y="1334"/>
                  </a:lnTo>
                  <a:lnTo>
                    <a:pt x="4411" y="1344"/>
                  </a:lnTo>
                  <a:lnTo>
                    <a:pt x="4416" y="1355"/>
                  </a:lnTo>
                  <a:lnTo>
                    <a:pt x="4422" y="1366"/>
                  </a:lnTo>
                  <a:lnTo>
                    <a:pt x="4422" y="1366"/>
                  </a:lnTo>
                  <a:lnTo>
                    <a:pt x="4425" y="1372"/>
                  </a:lnTo>
                  <a:lnTo>
                    <a:pt x="4423" y="1378"/>
                  </a:lnTo>
                  <a:lnTo>
                    <a:pt x="4422" y="1382"/>
                  </a:lnTo>
                  <a:lnTo>
                    <a:pt x="4419" y="1388"/>
                  </a:lnTo>
                  <a:lnTo>
                    <a:pt x="4410" y="1397"/>
                  </a:lnTo>
                  <a:lnTo>
                    <a:pt x="4408" y="1403"/>
                  </a:lnTo>
                  <a:lnTo>
                    <a:pt x="4407" y="1409"/>
                  </a:lnTo>
                  <a:lnTo>
                    <a:pt x="4407" y="1409"/>
                  </a:lnTo>
                  <a:lnTo>
                    <a:pt x="4405" y="1414"/>
                  </a:lnTo>
                  <a:lnTo>
                    <a:pt x="4402" y="1417"/>
                  </a:lnTo>
                  <a:lnTo>
                    <a:pt x="4398" y="1418"/>
                  </a:lnTo>
                  <a:lnTo>
                    <a:pt x="4393" y="1418"/>
                  </a:lnTo>
                  <a:lnTo>
                    <a:pt x="4393" y="1418"/>
                  </a:lnTo>
                  <a:lnTo>
                    <a:pt x="4389" y="1418"/>
                  </a:lnTo>
                  <a:lnTo>
                    <a:pt x="4389" y="1418"/>
                  </a:lnTo>
                  <a:lnTo>
                    <a:pt x="4340" y="1417"/>
                  </a:lnTo>
                  <a:lnTo>
                    <a:pt x="4340" y="1417"/>
                  </a:lnTo>
                  <a:lnTo>
                    <a:pt x="4333" y="1417"/>
                  </a:lnTo>
                  <a:lnTo>
                    <a:pt x="4325" y="1420"/>
                  </a:lnTo>
                  <a:lnTo>
                    <a:pt x="4319" y="1423"/>
                  </a:lnTo>
                  <a:lnTo>
                    <a:pt x="4313" y="1427"/>
                  </a:lnTo>
                  <a:lnTo>
                    <a:pt x="4313" y="1427"/>
                  </a:lnTo>
                  <a:lnTo>
                    <a:pt x="4312" y="1429"/>
                  </a:lnTo>
                  <a:lnTo>
                    <a:pt x="4313" y="1430"/>
                  </a:lnTo>
                  <a:lnTo>
                    <a:pt x="4315" y="1435"/>
                  </a:lnTo>
                  <a:lnTo>
                    <a:pt x="4318" y="1441"/>
                  </a:lnTo>
                  <a:lnTo>
                    <a:pt x="4321" y="1446"/>
                  </a:lnTo>
                  <a:lnTo>
                    <a:pt x="4321" y="1446"/>
                  </a:lnTo>
                  <a:lnTo>
                    <a:pt x="4322" y="1450"/>
                  </a:lnTo>
                  <a:lnTo>
                    <a:pt x="4324" y="1453"/>
                  </a:lnTo>
                  <a:lnTo>
                    <a:pt x="4324" y="1453"/>
                  </a:lnTo>
                  <a:lnTo>
                    <a:pt x="4321" y="1461"/>
                  </a:lnTo>
                  <a:lnTo>
                    <a:pt x="4321" y="1467"/>
                  </a:lnTo>
                  <a:lnTo>
                    <a:pt x="4321" y="1473"/>
                  </a:lnTo>
                  <a:lnTo>
                    <a:pt x="4322" y="1479"/>
                  </a:lnTo>
                  <a:lnTo>
                    <a:pt x="4325" y="1492"/>
                  </a:lnTo>
                  <a:lnTo>
                    <a:pt x="4328" y="1504"/>
                  </a:lnTo>
                  <a:lnTo>
                    <a:pt x="4328" y="1504"/>
                  </a:lnTo>
                  <a:lnTo>
                    <a:pt x="4333" y="1523"/>
                  </a:lnTo>
                  <a:lnTo>
                    <a:pt x="4333" y="1523"/>
                  </a:lnTo>
                  <a:lnTo>
                    <a:pt x="4334" y="1533"/>
                  </a:lnTo>
                  <a:lnTo>
                    <a:pt x="4336" y="1544"/>
                  </a:lnTo>
                  <a:lnTo>
                    <a:pt x="4336" y="1553"/>
                  </a:lnTo>
                  <a:lnTo>
                    <a:pt x="4334" y="1556"/>
                  </a:lnTo>
                  <a:lnTo>
                    <a:pt x="4333" y="1557"/>
                  </a:lnTo>
                  <a:lnTo>
                    <a:pt x="4333" y="1557"/>
                  </a:lnTo>
                  <a:lnTo>
                    <a:pt x="4327" y="1560"/>
                  </a:lnTo>
                  <a:lnTo>
                    <a:pt x="4324" y="1563"/>
                  </a:lnTo>
                  <a:lnTo>
                    <a:pt x="4319" y="1571"/>
                  </a:lnTo>
                  <a:lnTo>
                    <a:pt x="4316" y="1577"/>
                  </a:lnTo>
                  <a:lnTo>
                    <a:pt x="4313" y="1582"/>
                  </a:lnTo>
                  <a:lnTo>
                    <a:pt x="4310" y="1585"/>
                  </a:lnTo>
                  <a:lnTo>
                    <a:pt x="4310" y="1585"/>
                  </a:lnTo>
                  <a:lnTo>
                    <a:pt x="4303" y="1594"/>
                  </a:lnTo>
                  <a:lnTo>
                    <a:pt x="4297" y="1603"/>
                  </a:lnTo>
                  <a:lnTo>
                    <a:pt x="4295" y="1609"/>
                  </a:lnTo>
                  <a:lnTo>
                    <a:pt x="4294" y="1615"/>
                  </a:lnTo>
                  <a:lnTo>
                    <a:pt x="4295" y="1621"/>
                  </a:lnTo>
                  <a:lnTo>
                    <a:pt x="4297" y="1625"/>
                  </a:lnTo>
                  <a:lnTo>
                    <a:pt x="4297" y="1625"/>
                  </a:lnTo>
                  <a:lnTo>
                    <a:pt x="4300" y="1631"/>
                  </a:lnTo>
                  <a:lnTo>
                    <a:pt x="4300" y="1636"/>
                  </a:lnTo>
                  <a:lnTo>
                    <a:pt x="4297" y="1639"/>
                  </a:lnTo>
                  <a:lnTo>
                    <a:pt x="4289" y="1640"/>
                  </a:lnTo>
                  <a:lnTo>
                    <a:pt x="4289" y="1640"/>
                  </a:lnTo>
                  <a:lnTo>
                    <a:pt x="4277" y="1643"/>
                  </a:lnTo>
                  <a:lnTo>
                    <a:pt x="4272" y="1646"/>
                  </a:lnTo>
                  <a:lnTo>
                    <a:pt x="4271" y="1648"/>
                  </a:lnTo>
                  <a:lnTo>
                    <a:pt x="4269" y="1653"/>
                  </a:lnTo>
                  <a:lnTo>
                    <a:pt x="4269" y="1657"/>
                  </a:lnTo>
                  <a:lnTo>
                    <a:pt x="4274" y="1669"/>
                  </a:lnTo>
                  <a:lnTo>
                    <a:pt x="4274" y="1669"/>
                  </a:lnTo>
                  <a:lnTo>
                    <a:pt x="4282" y="1695"/>
                  </a:lnTo>
                  <a:lnTo>
                    <a:pt x="4285" y="1708"/>
                  </a:lnTo>
                  <a:lnTo>
                    <a:pt x="4285" y="1724"/>
                  </a:lnTo>
                  <a:lnTo>
                    <a:pt x="4285" y="1724"/>
                  </a:lnTo>
                  <a:lnTo>
                    <a:pt x="4282" y="1724"/>
                  </a:lnTo>
                  <a:lnTo>
                    <a:pt x="4280" y="1722"/>
                  </a:lnTo>
                  <a:lnTo>
                    <a:pt x="4276" y="1719"/>
                  </a:lnTo>
                  <a:lnTo>
                    <a:pt x="4276" y="1719"/>
                  </a:lnTo>
                  <a:lnTo>
                    <a:pt x="4266" y="1714"/>
                  </a:lnTo>
                  <a:lnTo>
                    <a:pt x="4262" y="1713"/>
                  </a:lnTo>
                  <a:lnTo>
                    <a:pt x="4257" y="1713"/>
                  </a:lnTo>
                  <a:lnTo>
                    <a:pt x="4253" y="1713"/>
                  </a:lnTo>
                  <a:lnTo>
                    <a:pt x="4248" y="1716"/>
                  </a:lnTo>
                  <a:lnTo>
                    <a:pt x="4241" y="1722"/>
                  </a:lnTo>
                  <a:lnTo>
                    <a:pt x="4241" y="1722"/>
                  </a:lnTo>
                  <a:lnTo>
                    <a:pt x="4235" y="1727"/>
                  </a:lnTo>
                  <a:lnTo>
                    <a:pt x="4230" y="1730"/>
                  </a:lnTo>
                  <a:lnTo>
                    <a:pt x="4220" y="1736"/>
                  </a:lnTo>
                  <a:lnTo>
                    <a:pt x="4220" y="1736"/>
                  </a:lnTo>
                  <a:lnTo>
                    <a:pt x="4205" y="1745"/>
                  </a:lnTo>
                  <a:lnTo>
                    <a:pt x="4199" y="1749"/>
                  </a:lnTo>
                  <a:lnTo>
                    <a:pt x="4195" y="1752"/>
                  </a:lnTo>
                  <a:lnTo>
                    <a:pt x="4194" y="1758"/>
                  </a:lnTo>
                  <a:lnTo>
                    <a:pt x="4194" y="1764"/>
                  </a:lnTo>
                  <a:lnTo>
                    <a:pt x="4197" y="1781"/>
                  </a:lnTo>
                  <a:lnTo>
                    <a:pt x="4197" y="1781"/>
                  </a:lnTo>
                  <a:lnTo>
                    <a:pt x="4199" y="1787"/>
                  </a:lnTo>
                  <a:lnTo>
                    <a:pt x="4199" y="1791"/>
                  </a:lnTo>
                  <a:lnTo>
                    <a:pt x="4195" y="1802"/>
                  </a:lnTo>
                  <a:lnTo>
                    <a:pt x="4195" y="1802"/>
                  </a:lnTo>
                  <a:lnTo>
                    <a:pt x="4192" y="1813"/>
                  </a:lnTo>
                  <a:lnTo>
                    <a:pt x="4191" y="1825"/>
                  </a:lnTo>
                  <a:lnTo>
                    <a:pt x="4191" y="1831"/>
                  </a:lnTo>
                  <a:lnTo>
                    <a:pt x="4191" y="1835"/>
                  </a:lnTo>
                  <a:lnTo>
                    <a:pt x="4194" y="1841"/>
                  </a:lnTo>
                  <a:lnTo>
                    <a:pt x="4199" y="1846"/>
                  </a:lnTo>
                  <a:lnTo>
                    <a:pt x="4199" y="1846"/>
                  </a:lnTo>
                  <a:lnTo>
                    <a:pt x="4202" y="1849"/>
                  </a:lnTo>
                  <a:lnTo>
                    <a:pt x="4203" y="1853"/>
                  </a:lnTo>
                  <a:lnTo>
                    <a:pt x="4206" y="1859"/>
                  </a:lnTo>
                  <a:lnTo>
                    <a:pt x="4206" y="1869"/>
                  </a:lnTo>
                  <a:lnTo>
                    <a:pt x="4209" y="1875"/>
                  </a:lnTo>
                  <a:lnTo>
                    <a:pt x="4209" y="1875"/>
                  </a:lnTo>
                  <a:lnTo>
                    <a:pt x="4209" y="1879"/>
                  </a:lnTo>
                  <a:lnTo>
                    <a:pt x="4206" y="1882"/>
                  </a:lnTo>
                  <a:lnTo>
                    <a:pt x="4203" y="1885"/>
                  </a:lnTo>
                  <a:lnTo>
                    <a:pt x="4197" y="1888"/>
                  </a:lnTo>
                  <a:lnTo>
                    <a:pt x="4192" y="1891"/>
                  </a:lnTo>
                  <a:lnTo>
                    <a:pt x="4186" y="1893"/>
                  </a:lnTo>
                  <a:lnTo>
                    <a:pt x="4180" y="1891"/>
                  </a:lnTo>
                  <a:lnTo>
                    <a:pt x="4176" y="1890"/>
                  </a:lnTo>
                  <a:lnTo>
                    <a:pt x="4176" y="1890"/>
                  </a:lnTo>
                  <a:lnTo>
                    <a:pt x="4168" y="1884"/>
                  </a:lnTo>
                  <a:lnTo>
                    <a:pt x="4159" y="1875"/>
                  </a:lnTo>
                  <a:lnTo>
                    <a:pt x="4152" y="1869"/>
                  </a:lnTo>
                  <a:lnTo>
                    <a:pt x="4141" y="1861"/>
                  </a:lnTo>
                  <a:lnTo>
                    <a:pt x="4141" y="1861"/>
                  </a:lnTo>
                  <a:lnTo>
                    <a:pt x="4140" y="1858"/>
                  </a:lnTo>
                  <a:lnTo>
                    <a:pt x="4137" y="1852"/>
                  </a:lnTo>
                  <a:lnTo>
                    <a:pt x="4135" y="1843"/>
                  </a:lnTo>
                  <a:lnTo>
                    <a:pt x="4135" y="1835"/>
                  </a:lnTo>
                  <a:lnTo>
                    <a:pt x="4135" y="1835"/>
                  </a:lnTo>
                  <a:lnTo>
                    <a:pt x="4135" y="1831"/>
                  </a:lnTo>
                  <a:lnTo>
                    <a:pt x="4132" y="1826"/>
                  </a:lnTo>
                  <a:lnTo>
                    <a:pt x="4129" y="1822"/>
                  </a:lnTo>
                  <a:lnTo>
                    <a:pt x="4123" y="1819"/>
                  </a:lnTo>
                  <a:lnTo>
                    <a:pt x="4118" y="1817"/>
                  </a:lnTo>
                  <a:lnTo>
                    <a:pt x="4114" y="1816"/>
                  </a:lnTo>
                  <a:lnTo>
                    <a:pt x="4108" y="1817"/>
                  </a:lnTo>
                  <a:lnTo>
                    <a:pt x="4105" y="1820"/>
                  </a:lnTo>
                  <a:lnTo>
                    <a:pt x="4105" y="1820"/>
                  </a:lnTo>
                  <a:lnTo>
                    <a:pt x="4099" y="1823"/>
                  </a:lnTo>
                  <a:lnTo>
                    <a:pt x="4094" y="1825"/>
                  </a:lnTo>
                  <a:lnTo>
                    <a:pt x="4084" y="1823"/>
                  </a:lnTo>
                  <a:lnTo>
                    <a:pt x="4084" y="1823"/>
                  </a:lnTo>
                  <a:lnTo>
                    <a:pt x="4067" y="1819"/>
                  </a:lnTo>
                  <a:lnTo>
                    <a:pt x="4067" y="1819"/>
                  </a:lnTo>
                  <a:lnTo>
                    <a:pt x="4063" y="1817"/>
                  </a:lnTo>
                  <a:lnTo>
                    <a:pt x="4058" y="1819"/>
                  </a:lnTo>
                  <a:lnTo>
                    <a:pt x="4054" y="1819"/>
                  </a:lnTo>
                  <a:lnTo>
                    <a:pt x="4051" y="1822"/>
                  </a:lnTo>
                  <a:lnTo>
                    <a:pt x="4049" y="1825"/>
                  </a:lnTo>
                  <a:lnTo>
                    <a:pt x="4048" y="1828"/>
                  </a:lnTo>
                  <a:lnTo>
                    <a:pt x="4046" y="1832"/>
                  </a:lnTo>
                  <a:lnTo>
                    <a:pt x="4048" y="1837"/>
                  </a:lnTo>
                  <a:lnTo>
                    <a:pt x="4048" y="1837"/>
                  </a:lnTo>
                  <a:lnTo>
                    <a:pt x="4048" y="1844"/>
                  </a:lnTo>
                  <a:lnTo>
                    <a:pt x="4046" y="1850"/>
                  </a:lnTo>
                  <a:lnTo>
                    <a:pt x="4045" y="1856"/>
                  </a:lnTo>
                  <a:lnTo>
                    <a:pt x="4040" y="1862"/>
                  </a:lnTo>
                  <a:lnTo>
                    <a:pt x="4040" y="1862"/>
                  </a:lnTo>
                  <a:lnTo>
                    <a:pt x="4037" y="1869"/>
                  </a:lnTo>
                  <a:lnTo>
                    <a:pt x="4035" y="1873"/>
                  </a:lnTo>
                  <a:lnTo>
                    <a:pt x="4034" y="1885"/>
                  </a:lnTo>
                  <a:lnTo>
                    <a:pt x="4034" y="1885"/>
                  </a:lnTo>
                  <a:lnTo>
                    <a:pt x="4029" y="1909"/>
                  </a:lnTo>
                  <a:lnTo>
                    <a:pt x="4026" y="1921"/>
                  </a:lnTo>
                  <a:lnTo>
                    <a:pt x="4022" y="1933"/>
                  </a:lnTo>
                  <a:lnTo>
                    <a:pt x="4022" y="1933"/>
                  </a:lnTo>
                  <a:lnTo>
                    <a:pt x="4022" y="1939"/>
                  </a:lnTo>
                  <a:lnTo>
                    <a:pt x="4022" y="1941"/>
                  </a:lnTo>
                  <a:lnTo>
                    <a:pt x="4023" y="1943"/>
                  </a:lnTo>
                  <a:lnTo>
                    <a:pt x="4023" y="1943"/>
                  </a:lnTo>
                  <a:lnTo>
                    <a:pt x="4028" y="1943"/>
                  </a:lnTo>
                  <a:lnTo>
                    <a:pt x="4032" y="1944"/>
                  </a:lnTo>
                  <a:lnTo>
                    <a:pt x="4040" y="1949"/>
                  </a:lnTo>
                  <a:lnTo>
                    <a:pt x="4049" y="1952"/>
                  </a:lnTo>
                  <a:lnTo>
                    <a:pt x="4052" y="1953"/>
                  </a:lnTo>
                  <a:lnTo>
                    <a:pt x="4057" y="1952"/>
                  </a:lnTo>
                  <a:lnTo>
                    <a:pt x="4057" y="1952"/>
                  </a:lnTo>
                  <a:lnTo>
                    <a:pt x="4066" y="1950"/>
                  </a:lnTo>
                  <a:lnTo>
                    <a:pt x="4076" y="1949"/>
                  </a:lnTo>
                  <a:lnTo>
                    <a:pt x="4085" y="1949"/>
                  </a:lnTo>
                  <a:lnTo>
                    <a:pt x="4094" y="1950"/>
                  </a:lnTo>
                  <a:lnTo>
                    <a:pt x="4094" y="1950"/>
                  </a:lnTo>
                  <a:lnTo>
                    <a:pt x="4103" y="1952"/>
                  </a:lnTo>
                  <a:lnTo>
                    <a:pt x="4114" y="1955"/>
                  </a:lnTo>
                  <a:lnTo>
                    <a:pt x="4118" y="1958"/>
                  </a:lnTo>
                  <a:lnTo>
                    <a:pt x="4122" y="1961"/>
                  </a:lnTo>
                  <a:lnTo>
                    <a:pt x="4125" y="1967"/>
                  </a:lnTo>
                  <a:lnTo>
                    <a:pt x="4126" y="1973"/>
                  </a:lnTo>
                  <a:lnTo>
                    <a:pt x="4126" y="1973"/>
                  </a:lnTo>
                  <a:lnTo>
                    <a:pt x="4128" y="1979"/>
                  </a:lnTo>
                  <a:lnTo>
                    <a:pt x="4131" y="1986"/>
                  </a:lnTo>
                  <a:lnTo>
                    <a:pt x="4135" y="1992"/>
                  </a:lnTo>
                  <a:lnTo>
                    <a:pt x="4138" y="1994"/>
                  </a:lnTo>
                  <a:lnTo>
                    <a:pt x="4143" y="1995"/>
                  </a:lnTo>
                  <a:lnTo>
                    <a:pt x="4143" y="1995"/>
                  </a:lnTo>
                  <a:lnTo>
                    <a:pt x="4152" y="1997"/>
                  </a:lnTo>
                  <a:lnTo>
                    <a:pt x="4159" y="2000"/>
                  </a:lnTo>
                  <a:lnTo>
                    <a:pt x="4161" y="2003"/>
                  </a:lnTo>
                  <a:lnTo>
                    <a:pt x="4164" y="2006"/>
                  </a:lnTo>
                  <a:lnTo>
                    <a:pt x="4165" y="2017"/>
                  </a:lnTo>
                  <a:lnTo>
                    <a:pt x="4165" y="2017"/>
                  </a:lnTo>
                  <a:lnTo>
                    <a:pt x="4170" y="2054"/>
                  </a:lnTo>
                  <a:lnTo>
                    <a:pt x="4170" y="2054"/>
                  </a:lnTo>
                  <a:lnTo>
                    <a:pt x="4170" y="2060"/>
                  </a:lnTo>
                  <a:lnTo>
                    <a:pt x="4167" y="2065"/>
                  </a:lnTo>
                  <a:lnTo>
                    <a:pt x="4164" y="2068"/>
                  </a:lnTo>
                  <a:lnTo>
                    <a:pt x="4159" y="2071"/>
                  </a:lnTo>
                  <a:lnTo>
                    <a:pt x="4150" y="2075"/>
                  </a:lnTo>
                  <a:lnTo>
                    <a:pt x="4146" y="2077"/>
                  </a:lnTo>
                  <a:lnTo>
                    <a:pt x="4141" y="2080"/>
                  </a:lnTo>
                  <a:lnTo>
                    <a:pt x="4141" y="2080"/>
                  </a:lnTo>
                  <a:lnTo>
                    <a:pt x="4137" y="2083"/>
                  </a:lnTo>
                  <a:lnTo>
                    <a:pt x="4137" y="2083"/>
                  </a:lnTo>
                  <a:lnTo>
                    <a:pt x="4132" y="2086"/>
                  </a:lnTo>
                  <a:lnTo>
                    <a:pt x="4129" y="2088"/>
                  </a:lnTo>
                  <a:lnTo>
                    <a:pt x="4122" y="2088"/>
                  </a:lnTo>
                  <a:lnTo>
                    <a:pt x="4122" y="2088"/>
                  </a:lnTo>
                  <a:lnTo>
                    <a:pt x="4108" y="2089"/>
                  </a:lnTo>
                  <a:lnTo>
                    <a:pt x="4094" y="2091"/>
                  </a:lnTo>
                  <a:lnTo>
                    <a:pt x="4082" y="2095"/>
                  </a:lnTo>
                  <a:lnTo>
                    <a:pt x="4078" y="2100"/>
                  </a:lnTo>
                  <a:lnTo>
                    <a:pt x="4072" y="2103"/>
                  </a:lnTo>
                  <a:lnTo>
                    <a:pt x="4072" y="2103"/>
                  </a:lnTo>
                  <a:lnTo>
                    <a:pt x="4066" y="2107"/>
                  </a:lnTo>
                  <a:lnTo>
                    <a:pt x="4060" y="2109"/>
                  </a:lnTo>
                  <a:lnTo>
                    <a:pt x="4055" y="2107"/>
                  </a:lnTo>
                  <a:lnTo>
                    <a:pt x="4051" y="2103"/>
                  </a:lnTo>
                  <a:lnTo>
                    <a:pt x="4051" y="2103"/>
                  </a:lnTo>
                  <a:lnTo>
                    <a:pt x="4043" y="2097"/>
                  </a:lnTo>
                  <a:lnTo>
                    <a:pt x="4035" y="2091"/>
                  </a:lnTo>
                  <a:lnTo>
                    <a:pt x="4019" y="2081"/>
                  </a:lnTo>
                  <a:lnTo>
                    <a:pt x="4002" y="2074"/>
                  </a:lnTo>
                  <a:lnTo>
                    <a:pt x="3986" y="2066"/>
                  </a:lnTo>
                  <a:lnTo>
                    <a:pt x="3986" y="2066"/>
                  </a:lnTo>
                  <a:lnTo>
                    <a:pt x="3969" y="2059"/>
                  </a:lnTo>
                  <a:lnTo>
                    <a:pt x="3952" y="2053"/>
                  </a:lnTo>
                  <a:lnTo>
                    <a:pt x="3945" y="2048"/>
                  </a:lnTo>
                  <a:lnTo>
                    <a:pt x="3939" y="2042"/>
                  </a:lnTo>
                  <a:lnTo>
                    <a:pt x="3933" y="2035"/>
                  </a:lnTo>
                  <a:lnTo>
                    <a:pt x="3930" y="2024"/>
                  </a:lnTo>
                  <a:lnTo>
                    <a:pt x="3930" y="2024"/>
                  </a:lnTo>
                  <a:lnTo>
                    <a:pt x="3928" y="2023"/>
                  </a:lnTo>
                  <a:lnTo>
                    <a:pt x="3925" y="2020"/>
                  </a:lnTo>
                  <a:lnTo>
                    <a:pt x="3921" y="2015"/>
                  </a:lnTo>
                  <a:lnTo>
                    <a:pt x="3921" y="2015"/>
                  </a:lnTo>
                  <a:lnTo>
                    <a:pt x="3907" y="2007"/>
                  </a:lnTo>
                  <a:lnTo>
                    <a:pt x="3894" y="2000"/>
                  </a:lnTo>
                  <a:lnTo>
                    <a:pt x="3880" y="1995"/>
                  </a:lnTo>
                  <a:lnTo>
                    <a:pt x="3865" y="1992"/>
                  </a:lnTo>
                  <a:lnTo>
                    <a:pt x="3865" y="1992"/>
                  </a:lnTo>
                  <a:lnTo>
                    <a:pt x="3853" y="1989"/>
                  </a:lnTo>
                  <a:lnTo>
                    <a:pt x="3841" y="1985"/>
                  </a:lnTo>
                  <a:lnTo>
                    <a:pt x="3830" y="1979"/>
                  </a:lnTo>
                  <a:lnTo>
                    <a:pt x="3820" y="1971"/>
                  </a:lnTo>
                  <a:lnTo>
                    <a:pt x="3820" y="1971"/>
                  </a:lnTo>
                  <a:lnTo>
                    <a:pt x="3814" y="1965"/>
                  </a:lnTo>
                  <a:lnTo>
                    <a:pt x="3807" y="1962"/>
                  </a:lnTo>
                  <a:lnTo>
                    <a:pt x="3800" y="1961"/>
                  </a:lnTo>
                  <a:lnTo>
                    <a:pt x="3794" y="1962"/>
                  </a:lnTo>
                  <a:lnTo>
                    <a:pt x="3794" y="1962"/>
                  </a:lnTo>
                  <a:lnTo>
                    <a:pt x="3785" y="1962"/>
                  </a:lnTo>
                  <a:lnTo>
                    <a:pt x="3777" y="1961"/>
                  </a:lnTo>
                  <a:lnTo>
                    <a:pt x="3770" y="1956"/>
                  </a:lnTo>
                  <a:lnTo>
                    <a:pt x="3764" y="1949"/>
                  </a:lnTo>
                  <a:lnTo>
                    <a:pt x="3764" y="1949"/>
                  </a:lnTo>
                  <a:lnTo>
                    <a:pt x="3756" y="1943"/>
                  </a:lnTo>
                  <a:lnTo>
                    <a:pt x="3746" y="1938"/>
                  </a:lnTo>
                  <a:lnTo>
                    <a:pt x="3735" y="1935"/>
                  </a:lnTo>
                  <a:lnTo>
                    <a:pt x="3723" y="1935"/>
                  </a:lnTo>
                  <a:lnTo>
                    <a:pt x="3711" y="1935"/>
                  </a:lnTo>
                  <a:lnTo>
                    <a:pt x="3702" y="1939"/>
                  </a:lnTo>
                  <a:lnTo>
                    <a:pt x="3693" y="1944"/>
                  </a:lnTo>
                  <a:lnTo>
                    <a:pt x="3690" y="1947"/>
                  </a:lnTo>
                  <a:lnTo>
                    <a:pt x="3687" y="1952"/>
                  </a:lnTo>
                  <a:lnTo>
                    <a:pt x="3687" y="1952"/>
                  </a:lnTo>
                  <a:lnTo>
                    <a:pt x="3681" y="1964"/>
                  </a:lnTo>
                  <a:lnTo>
                    <a:pt x="3673" y="1976"/>
                  </a:lnTo>
                  <a:lnTo>
                    <a:pt x="3667" y="1988"/>
                  </a:lnTo>
                  <a:lnTo>
                    <a:pt x="3663" y="2000"/>
                  </a:lnTo>
                  <a:lnTo>
                    <a:pt x="3663" y="2000"/>
                  </a:lnTo>
                  <a:lnTo>
                    <a:pt x="3660" y="2006"/>
                  </a:lnTo>
                  <a:lnTo>
                    <a:pt x="3653" y="2010"/>
                  </a:lnTo>
                  <a:lnTo>
                    <a:pt x="3649" y="2014"/>
                  </a:lnTo>
                  <a:lnTo>
                    <a:pt x="3641" y="2017"/>
                  </a:lnTo>
                  <a:lnTo>
                    <a:pt x="3634" y="2017"/>
                  </a:lnTo>
                  <a:lnTo>
                    <a:pt x="3628" y="2017"/>
                  </a:lnTo>
                  <a:lnTo>
                    <a:pt x="3622" y="2014"/>
                  </a:lnTo>
                  <a:lnTo>
                    <a:pt x="3616" y="2009"/>
                  </a:lnTo>
                  <a:lnTo>
                    <a:pt x="3616" y="2009"/>
                  </a:lnTo>
                  <a:lnTo>
                    <a:pt x="3611" y="2006"/>
                  </a:lnTo>
                  <a:lnTo>
                    <a:pt x="3608" y="2004"/>
                  </a:lnTo>
                  <a:lnTo>
                    <a:pt x="3605" y="2007"/>
                  </a:lnTo>
                  <a:lnTo>
                    <a:pt x="3604" y="2010"/>
                  </a:lnTo>
                  <a:lnTo>
                    <a:pt x="3604" y="2010"/>
                  </a:lnTo>
                  <a:lnTo>
                    <a:pt x="3599" y="2020"/>
                  </a:lnTo>
                  <a:lnTo>
                    <a:pt x="3596" y="2027"/>
                  </a:lnTo>
                  <a:lnTo>
                    <a:pt x="3596" y="2032"/>
                  </a:lnTo>
                  <a:lnTo>
                    <a:pt x="3596" y="2036"/>
                  </a:lnTo>
                  <a:lnTo>
                    <a:pt x="3598" y="2041"/>
                  </a:lnTo>
                  <a:lnTo>
                    <a:pt x="3601" y="2045"/>
                  </a:lnTo>
                  <a:lnTo>
                    <a:pt x="3601" y="2045"/>
                  </a:lnTo>
                  <a:lnTo>
                    <a:pt x="3608" y="2053"/>
                  </a:lnTo>
                  <a:lnTo>
                    <a:pt x="3616" y="2059"/>
                  </a:lnTo>
                  <a:lnTo>
                    <a:pt x="3625" y="2065"/>
                  </a:lnTo>
                  <a:lnTo>
                    <a:pt x="3631" y="2066"/>
                  </a:lnTo>
                  <a:lnTo>
                    <a:pt x="3635" y="2066"/>
                  </a:lnTo>
                  <a:lnTo>
                    <a:pt x="3635" y="2066"/>
                  </a:lnTo>
                  <a:lnTo>
                    <a:pt x="3644" y="2068"/>
                  </a:lnTo>
                  <a:lnTo>
                    <a:pt x="3650" y="2071"/>
                  </a:lnTo>
                  <a:lnTo>
                    <a:pt x="3656" y="2075"/>
                  </a:lnTo>
                  <a:lnTo>
                    <a:pt x="3661" y="2081"/>
                  </a:lnTo>
                  <a:lnTo>
                    <a:pt x="3661" y="2081"/>
                  </a:lnTo>
                  <a:lnTo>
                    <a:pt x="3663" y="2089"/>
                  </a:lnTo>
                  <a:lnTo>
                    <a:pt x="3661" y="2095"/>
                  </a:lnTo>
                  <a:lnTo>
                    <a:pt x="3658" y="2100"/>
                  </a:lnTo>
                  <a:lnTo>
                    <a:pt x="3653" y="2104"/>
                  </a:lnTo>
                  <a:lnTo>
                    <a:pt x="3653" y="2104"/>
                  </a:lnTo>
                  <a:lnTo>
                    <a:pt x="3646" y="2110"/>
                  </a:lnTo>
                  <a:lnTo>
                    <a:pt x="3640" y="2119"/>
                  </a:lnTo>
                  <a:lnTo>
                    <a:pt x="3640" y="2119"/>
                  </a:lnTo>
                  <a:lnTo>
                    <a:pt x="3635" y="2124"/>
                  </a:lnTo>
                  <a:lnTo>
                    <a:pt x="3631" y="2125"/>
                  </a:lnTo>
                  <a:lnTo>
                    <a:pt x="3622" y="2128"/>
                  </a:lnTo>
                  <a:lnTo>
                    <a:pt x="3622" y="2128"/>
                  </a:lnTo>
                  <a:lnTo>
                    <a:pt x="3610" y="2128"/>
                  </a:lnTo>
                  <a:lnTo>
                    <a:pt x="3599" y="2128"/>
                  </a:lnTo>
                  <a:lnTo>
                    <a:pt x="3587" y="2128"/>
                  </a:lnTo>
                  <a:lnTo>
                    <a:pt x="3581" y="2130"/>
                  </a:lnTo>
                  <a:lnTo>
                    <a:pt x="3575" y="2131"/>
                  </a:lnTo>
                  <a:lnTo>
                    <a:pt x="3575" y="2131"/>
                  </a:lnTo>
                  <a:lnTo>
                    <a:pt x="3569" y="2134"/>
                  </a:lnTo>
                  <a:lnTo>
                    <a:pt x="3564" y="2139"/>
                  </a:lnTo>
                  <a:lnTo>
                    <a:pt x="3561" y="2142"/>
                  </a:lnTo>
                  <a:lnTo>
                    <a:pt x="3561" y="2145"/>
                  </a:lnTo>
                  <a:lnTo>
                    <a:pt x="3563" y="2152"/>
                  </a:lnTo>
                  <a:lnTo>
                    <a:pt x="3566" y="2162"/>
                  </a:lnTo>
                  <a:lnTo>
                    <a:pt x="3566" y="2162"/>
                  </a:lnTo>
                  <a:lnTo>
                    <a:pt x="3567" y="2166"/>
                  </a:lnTo>
                  <a:lnTo>
                    <a:pt x="3572" y="2169"/>
                  </a:lnTo>
                  <a:lnTo>
                    <a:pt x="3575" y="2171"/>
                  </a:lnTo>
                  <a:lnTo>
                    <a:pt x="3576" y="2174"/>
                  </a:lnTo>
                  <a:lnTo>
                    <a:pt x="3576" y="2174"/>
                  </a:lnTo>
                  <a:lnTo>
                    <a:pt x="3578" y="2180"/>
                  </a:lnTo>
                  <a:lnTo>
                    <a:pt x="3578" y="2187"/>
                  </a:lnTo>
                  <a:lnTo>
                    <a:pt x="3575" y="2193"/>
                  </a:lnTo>
                  <a:lnTo>
                    <a:pt x="3570" y="2201"/>
                  </a:lnTo>
                  <a:lnTo>
                    <a:pt x="3570" y="2201"/>
                  </a:lnTo>
                  <a:lnTo>
                    <a:pt x="3563" y="2207"/>
                  </a:lnTo>
                  <a:lnTo>
                    <a:pt x="3557" y="2216"/>
                  </a:lnTo>
                  <a:lnTo>
                    <a:pt x="3554" y="2226"/>
                  </a:lnTo>
                  <a:lnTo>
                    <a:pt x="3552" y="2239"/>
                  </a:lnTo>
                  <a:lnTo>
                    <a:pt x="3552" y="2239"/>
                  </a:lnTo>
                  <a:lnTo>
                    <a:pt x="3551" y="2245"/>
                  </a:lnTo>
                  <a:lnTo>
                    <a:pt x="3549" y="2251"/>
                  </a:lnTo>
                  <a:lnTo>
                    <a:pt x="3543" y="2261"/>
                  </a:lnTo>
                  <a:lnTo>
                    <a:pt x="3536" y="2273"/>
                  </a:lnTo>
                  <a:lnTo>
                    <a:pt x="3530" y="2285"/>
                  </a:lnTo>
                  <a:lnTo>
                    <a:pt x="3530" y="2285"/>
                  </a:lnTo>
                  <a:lnTo>
                    <a:pt x="3528" y="2293"/>
                  </a:lnTo>
                  <a:lnTo>
                    <a:pt x="3528" y="2299"/>
                  </a:lnTo>
                  <a:lnTo>
                    <a:pt x="3531" y="2305"/>
                  </a:lnTo>
                  <a:lnTo>
                    <a:pt x="3536" y="2311"/>
                  </a:lnTo>
                  <a:lnTo>
                    <a:pt x="3536" y="2311"/>
                  </a:lnTo>
                  <a:lnTo>
                    <a:pt x="3525" y="2311"/>
                  </a:lnTo>
                  <a:lnTo>
                    <a:pt x="3516" y="2311"/>
                  </a:lnTo>
                  <a:lnTo>
                    <a:pt x="3516" y="2311"/>
                  </a:lnTo>
                  <a:lnTo>
                    <a:pt x="3510" y="2311"/>
                  </a:lnTo>
                  <a:lnTo>
                    <a:pt x="3502" y="2313"/>
                  </a:lnTo>
                  <a:lnTo>
                    <a:pt x="3499" y="2314"/>
                  </a:lnTo>
                  <a:lnTo>
                    <a:pt x="3498" y="2316"/>
                  </a:lnTo>
                  <a:lnTo>
                    <a:pt x="3498" y="2320"/>
                  </a:lnTo>
                  <a:lnTo>
                    <a:pt x="3498" y="2326"/>
                  </a:lnTo>
                  <a:lnTo>
                    <a:pt x="3498" y="2326"/>
                  </a:lnTo>
                  <a:lnTo>
                    <a:pt x="3498" y="2328"/>
                  </a:lnTo>
                  <a:lnTo>
                    <a:pt x="3496" y="2329"/>
                  </a:lnTo>
                  <a:lnTo>
                    <a:pt x="3493" y="2329"/>
                  </a:lnTo>
                  <a:lnTo>
                    <a:pt x="3493" y="2329"/>
                  </a:lnTo>
                  <a:lnTo>
                    <a:pt x="3486" y="2328"/>
                  </a:lnTo>
                  <a:lnTo>
                    <a:pt x="3480" y="2328"/>
                  </a:lnTo>
                  <a:lnTo>
                    <a:pt x="3466" y="2329"/>
                  </a:lnTo>
                  <a:lnTo>
                    <a:pt x="3453" y="2332"/>
                  </a:lnTo>
                  <a:lnTo>
                    <a:pt x="3439" y="2335"/>
                  </a:lnTo>
                  <a:lnTo>
                    <a:pt x="3439" y="2335"/>
                  </a:lnTo>
                  <a:lnTo>
                    <a:pt x="3429" y="2334"/>
                  </a:lnTo>
                  <a:lnTo>
                    <a:pt x="3422" y="2335"/>
                  </a:lnTo>
                  <a:lnTo>
                    <a:pt x="3421" y="2337"/>
                  </a:lnTo>
                  <a:lnTo>
                    <a:pt x="3419" y="2340"/>
                  </a:lnTo>
                  <a:lnTo>
                    <a:pt x="3419" y="2340"/>
                  </a:lnTo>
                  <a:lnTo>
                    <a:pt x="3418" y="2346"/>
                  </a:lnTo>
                  <a:lnTo>
                    <a:pt x="3416" y="2349"/>
                  </a:lnTo>
                  <a:lnTo>
                    <a:pt x="3413" y="2350"/>
                  </a:lnTo>
                  <a:lnTo>
                    <a:pt x="3412" y="2350"/>
                  </a:lnTo>
                  <a:lnTo>
                    <a:pt x="3407" y="2347"/>
                  </a:lnTo>
                  <a:lnTo>
                    <a:pt x="3403" y="2343"/>
                  </a:lnTo>
                  <a:lnTo>
                    <a:pt x="3403" y="2343"/>
                  </a:lnTo>
                  <a:lnTo>
                    <a:pt x="3394" y="2337"/>
                  </a:lnTo>
                  <a:lnTo>
                    <a:pt x="3394" y="2337"/>
                  </a:lnTo>
                  <a:lnTo>
                    <a:pt x="3389" y="2335"/>
                  </a:lnTo>
                  <a:lnTo>
                    <a:pt x="3386" y="2335"/>
                  </a:lnTo>
                  <a:lnTo>
                    <a:pt x="3383" y="2337"/>
                  </a:lnTo>
                  <a:lnTo>
                    <a:pt x="3379" y="2338"/>
                  </a:lnTo>
                  <a:lnTo>
                    <a:pt x="3379" y="2338"/>
                  </a:lnTo>
                  <a:lnTo>
                    <a:pt x="3377" y="2343"/>
                  </a:lnTo>
                  <a:lnTo>
                    <a:pt x="3376" y="2346"/>
                  </a:lnTo>
                  <a:lnTo>
                    <a:pt x="3376" y="2347"/>
                  </a:lnTo>
                  <a:lnTo>
                    <a:pt x="3380" y="2350"/>
                  </a:lnTo>
                  <a:lnTo>
                    <a:pt x="3380" y="2350"/>
                  </a:lnTo>
                  <a:lnTo>
                    <a:pt x="3382" y="2353"/>
                  </a:lnTo>
                  <a:lnTo>
                    <a:pt x="3382" y="2356"/>
                  </a:lnTo>
                  <a:lnTo>
                    <a:pt x="3379" y="2361"/>
                  </a:lnTo>
                  <a:lnTo>
                    <a:pt x="3379" y="2361"/>
                  </a:lnTo>
                  <a:lnTo>
                    <a:pt x="3376" y="2365"/>
                  </a:lnTo>
                  <a:lnTo>
                    <a:pt x="3373" y="2367"/>
                  </a:lnTo>
                  <a:lnTo>
                    <a:pt x="3370" y="2368"/>
                  </a:lnTo>
                  <a:lnTo>
                    <a:pt x="3365" y="2368"/>
                  </a:lnTo>
                  <a:lnTo>
                    <a:pt x="3359" y="2367"/>
                  </a:lnTo>
                  <a:lnTo>
                    <a:pt x="3353" y="2362"/>
                  </a:lnTo>
                  <a:lnTo>
                    <a:pt x="3353" y="2362"/>
                  </a:lnTo>
                  <a:lnTo>
                    <a:pt x="3348" y="2359"/>
                  </a:lnTo>
                  <a:lnTo>
                    <a:pt x="3345" y="2356"/>
                  </a:lnTo>
                  <a:lnTo>
                    <a:pt x="3341" y="2356"/>
                  </a:lnTo>
                  <a:lnTo>
                    <a:pt x="3338" y="2356"/>
                  </a:lnTo>
                  <a:lnTo>
                    <a:pt x="3333" y="2361"/>
                  </a:lnTo>
                  <a:lnTo>
                    <a:pt x="3327" y="2368"/>
                  </a:lnTo>
                  <a:lnTo>
                    <a:pt x="3327" y="2368"/>
                  </a:lnTo>
                  <a:lnTo>
                    <a:pt x="3317" y="2382"/>
                  </a:lnTo>
                  <a:lnTo>
                    <a:pt x="3317" y="2382"/>
                  </a:lnTo>
                  <a:lnTo>
                    <a:pt x="3312" y="2387"/>
                  </a:lnTo>
                  <a:lnTo>
                    <a:pt x="3311" y="2388"/>
                  </a:lnTo>
                  <a:lnTo>
                    <a:pt x="3309" y="2387"/>
                  </a:lnTo>
                  <a:lnTo>
                    <a:pt x="3309" y="2387"/>
                  </a:lnTo>
                  <a:lnTo>
                    <a:pt x="3306" y="2382"/>
                  </a:lnTo>
                  <a:lnTo>
                    <a:pt x="3303" y="2379"/>
                  </a:lnTo>
                  <a:lnTo>
                    <a:pt x="3299" y="2378"/>
                  </a:lnTo>
                  <a:lnTo>
                    <a:pt x="3294" y="2378"/>
                  </a:lnTo>
                  <a:lnTo>
                    <a:pt x="3285" y="2379"/>
                  </a:lnTo>
                  <a:lnTo>
                    <a:pt x="3281" y="2378"/>
                  </a:lnTo>
                  <a:lnTo>
                    <a:pt x="3276" y="2376"/>
                  </a:lnTo>
                  <a:lnTo>
                    <a:pt x="3276" y="2376"/>
                  </a:lnTo>
                  <a:lnTo>
                    <a:pt x="3271" y="2374"/>
                  </a:lnTo>
                  <a:lnTo>
                    <a:pt x="3267" y="2374"/>
                  </a:lnTo>
                  <a:lnTo>
                    <a:pt x="3261" y="2376"/>
                  </a:lnTo>
                  <a:lnTo>
                    <a:pt x="3256" y="2378"/>
                  </a:lnTo>
                  <a:lnTo>
                    <a:pt x="3244" y="2384"/>
                  </a:lnTo>
                  <a:lnTo>
                    <a:pt x="3235" y="2390"/>
                  </a:lnTo>
                  <a:lnTo>
                    <a:pt x="3235" y="2390"/>
                  </a:lnTo>
                  <a:lnTo>
                    <a:pt x="3231" y="2393"/>
                  </a:lnTo>
                  <a:lnTo>
                    <a:pt x="3226" y="2399"/>
                  </a:lnTo>
                  <a:lnTo>
                    <a:pt x="3222" y="2412"/>
                  </a:lnTo>
                  <a:lnTo>
                    <a:pt x="3216" y="2426"/>
                  </a:lnTo>
                  <a:lnTo>
                    <a:pt x="3213" y="2432"/>
                  </a:lnTo>
                  <a:lnTo>
                    <a:pt x="3207" y="2438"/>
                  </a:lnTo>
                  <a:lnTo>
                    <a:pt x="3207" y="2438"/>
                  </a:lnTo>
                  <a:lnTo>
                    <a:pt x="3207" y="2441"/>
                  </a:lnTo>
                  <a:lnTo>
                    <a:pt x="3207" y="2441"/>
                  </a:lnTo>
                  <a:lnTo>
                    <a:pt x="3207" y="2449"/>
                  </a:lnTo>
                  <a:lnTo>
                    <a:pt x="3207" y="2455"/>
                  </a:lnTo>
                  <a:lnTo>
                    <a:pt x="3204" y="2461"/>
                  </a:lnTo>
                  <a:lnTo>
                    <a:pt x="3201" y="2465"/>
                  </a:lnTo>
                  <a:lnTo>
                    <a:pt x="3193" y="2474"/>
                  </a:lnTo>
                  <a:lnTo>
                    <a:pt x="3184" y="2482"/>
                  </a:lnTo>
                  <a:lnTo>
                    <a:pt x="3184" y="2482"/>
                  </a:lnTo>
                  <a:lnTo>
                    <a:pt x="3167" y="2494"/>
                  </a:lnTo>
                  <a:lnTo>
                    <a:pt x="3151" y="2506"/>
                  </a:lnTo>
                  <a:lnTo>
                    <a:pt x="3133" y="2516"/>
                  </a:lnTo>
                  <a:lnTo>
                    <a:pt x="3124" y="2523"/>
                  </a:lnTo>
                  <a:lnTo>
                    <a:pt x="3114" y="2526"/>
                  </a:lnTo>
                  <a:lnTo>
                    <a:pt x="3114" y="2526"/>
                  </a:lnTo>
                  <a:lnTo>
                    <a:pt x="3111" y="2516"/>
                  </a:lnTo>
                  <a:lnTo>
                    <a:pt x="3107" y="2510"/>
                  </a:lnTo>
                  <a:lnTo>
                    <a:pt x="3101" y="2506"/>
                  </a:lnTo>
                  <a:lnTo>
                    <a:pt x="3095" y="2503"/>
                  </a:lnTo>
                  <a:lnTo>
                    <a:pt x="3080" y="2501"/>
                  </a:lnTo>
                  <a:lnTo>
                    <a:pt x="3063" y="2498"/>
                  </a:lnTo>
                  <a:lnTo>
                    <a:pt x="3063" y="2498"/>
                  </a:lnTo>
                  <a:lnTo>
                    <a:pt x="3068" y="2503"/>
                  </a:lnTo>
                  <a:lnTo>
                    <a:pt x="3072" y="2507"/>
                  </a:lnTo>
                  <a:lnTo>
                    <a:pt x="3081" y="2512"/>
                  </a:lnTo>
                  <a:lnTo>
                    <a:pt x="3081" y="2512"/>
                  </a:lnTo>
                  <a:lnTo>
                    <a:pt x="3086" y="2515"/>
                  </a:lnTo>
                  <a:lnTo>
                    <a:pt x="3090" y="2519"/>
                  </a:lnTo>
                  <a:lnTo>
                    <a:pt x="3093" y="2526"/>
                  </a:lnTo>
                  <a:lnTo>
                    <a:pt x="3093" y="2530"/>
                  </a:lnTo>
                  <a:lnTo>
                    <a:pt x="3093" y="2530"/>
                  </a:lnTo>
                  <a:lnTo>
                    <a:pt x="3092" y="2532"/>
                  </a:lnTo>
                  <a:lnTo>
                    <a:pt x="3090" y="2533"/>
                  </a:lnTo>
                  <a:lnTo>
                    <a:pt x="3086" y="2533"/>
                  </a:lnTo>
                  <a:lnTo>
                    <a:pt x="3081" y="2530"/>
                  </a:lnTo>
                  <a:lnTo>
                    <a:pt x="3077" y="2530"/>
                  </a:lnTo>
                  <a:lnTo>
                    <a:pt x="3077" y="2530"/>
                  </a:lnTo>
                  <a:lnTo>
                    <a:pt x="3071" y="2530"/>
                  </a:lnTo>
                  <a:lnTo>
                    <a:pt x="3065" y="2529"/>
                  </a:lnTo>
                  <a:lnTo>
                    <a:pt x="3062" y="2530"/>
                  </a:lnTo>
                  <a:lnTo>
                    <a:pt x="3059" y="2532"/>
                  </a:lnTo>
                  <a:lnTo>
                    <a:pt x="3057" y="2535"/>
                  </a:lnTo>
                  <a:lnTo>
                    <a:pt x="3056" y="2542"/>
                  </a:lnTo>
                  <a:lnTo>
                    <a:pt x="3056" y="2542"/>
                  </a:lnTo>
                  <a:lnTo>
                    <a:pt x="3051" y="2565"/>
                  </a:lnTo>
                  <a:lnTo>
                    <a:pt x="3044" y="2589"/>
                  </a:lnTo>
                  <a:lnTo>
                    <a:pt x="3044" y="2589"/>
                  </a:lnTo>
                  <a:lnTo>
                    <a:pt x="3031" y="2584"/>
                  </a:lnTo>
                  <a:lnTo>
                    <a:pt x="3025" y="2583"/>
                  </a:lnTo>
                  <a:lnTo>
                    <a:pt x="3022" y="2580"/>
                  </a:lnTo>
                  <a:lnTo>
                    <a:pt x="3022" y="2580"/>
                  </a:lnTo>
                  <a:lnTo>
                    <a:pt x="3019" y="2575"/>
                  </a:lnTo>
                  <a:lnTo>
                    <a:pt x="3016" y="2574"/>
                  </a:lnTo>
                  <a:lnTo>
                    <a:pt x="3013" y="2577"/>
                  </a:lnTo>
                  <a:lnTo>
                    <a:pt x="3010" y="2578"/>
                  </a:lnTo>
                  <a:lnTo>
                    <a:pt x="3010" y="2578"/>
                  </a:lnTo>
                  <a:lnTo>
                    <a:pt x="3003" y="2581"/>
                  </a:lnTo>
                  <a:lnTo>
                    <a:pt x="3001" y="2583"/>
                  </a:lnTo>
                  <a:lnTo>
                    <a:pt x="3000" y="2584"/>
                  </a:lnTo>
                  <a:lnTo>
                    <a:pt x="3001" y="2587"/>
                  </a:lnTo>
                  <a:lnTo>
                    <a:pt x="3003" y="2592"/>
                  </a:lnTo>
                  <a:lnTo>
                    <a:pt x="3003" y="2592"/>
                  </a:lnTo>
                  <a:lnTo>
                    <a:pt x="3004" y="2598"/>
                  </a:lnTo>
                  <a:lnTo>
                    <a:pt x="3003" y="2606"/>
                  </a:lnTo>
                  <a:lnTo>
                    <a:pt x="3000" y="2612"/>
                  </a:lnTo>
                  <a:lnTo>
                    <a:pt x="2997" y="2618"/>
                  </a:lnTo>
                  <a:lnTo>
                    <a:pt x="2997" y="2618"/>
                  </a:lnTo>
                  <a:lnTo>
                    <a:pt x="2995" y="2619"/>
                  </a:lnTo>
                  <a:lnTo>
                    <a:pt x="2994" y="2621"/>
                  </a:lnTo>
                  <a:lnTo>
                    <a:pt x="2989" y="2619"/>
                  </a:lnTo>
                  <a:lnTo>
                    <a:pt x="2985" y="2618"/>
                  </a:lnTo>
                  <a:lnTo>
                    <a:pt x="2982" y="2616"/>
                  </a:lnTo>
                  <a:lnTo>
                    <a:pt x="2982" y="2616"/>
                  </a:lnTo>
                  <a:lnTo>
                    <a:pt x="2970" y="2615"/>
                  </a:lnTo>
                  <a:lnTo>
                    <a:pt x="2959" y="2613"/>
                  </a:lnTo>
                  <a:lnTo>
                    <a:pt x="2954" y="2615"/>
                  </a:lnTo>
                  <a:lnTo>
                    <a:pt x="2950" y="2616"/>
                  </a:lnTo>
                  <a:lnTo>
                    <a:pt x="2947" y="2619"/>
                  </a:lnTo>
                  <a:lnTo>
                    <a:pt x="2944" y="2625"/>
                  </a:lnTo>
                  <a:lnTo>
                    <a:pt x="2944" y="2625"/>
                  </a:lnTo>
                  <a:lnTo>
                    <a:pt x="2941" y="2633"/>
                  </a:lnTo>
                  <a:lnTo>
                    <a:pt x="2938" y="2636"/>
                  </a:lnTo>
                  <a:lnTo>
                    <a:pt x="2933" y="2639"/>
                  </a:lnTo>
                  <a:lnTo>
                    <a:pt x="2927" y="2640"/>
                  </a:lnTo>
                  <a:lnTo>
                    <a:pt x="2927" y="2640"/>
                  </a:lnTo>
                  <a:lnTo>
                    <a:pt x="2920" y="2643"/>
                  </a:lnTo>
                  <a:lnTo>
                    <a:pt x="2914" y="2648"/>
                  </a:lnTo>
                  <a:lnTo>
                    <a:pt x="2906" y="2654"/>
                  </a:lnTo>
                  <a:lnTo>
                    <a:pt x="2902" y="2660"/>
                  </a:lnTo>
                  <a:lnTo>
                    <a:pt x="2897" y="2668"/>
                  </a:lnTo>
                  <a:lnTo>
                    <a:pt x="2894" y="2674"/>
                  </a:lnTo>
                  <a:lnTo>
                    <a:pt x="2894" y="2680"/>
                  </a:lnTo>
                  <a:lnTo>
                    <a:pt x="2896" y="2686"/>
                  </a:lnTo>
                  <a:lnTo>
                    <a:pt x="2896" y="2686"/>
                  </a:lnTo>
                  <a:lnTo>
                    <a:pt x="2899" y="2695"/>
                  </a:lnTo>
                  <a:lnTo>
                    <a:pt x="2899" y="2699"/>
                  </a:lnTo>
                  <a:lnTo>
                    <a:pt x="2897" y="2702"/>
                  </a:lnTo>
                  <a:lnTo>
                    <a:pt x="2896" y="2704"/>
                  </a:lnTo>
                  <a:lnTo>
                    <a:pt x="2893" y="2707"/>
                  </a:lnTo>
                  <a:lnTo>
                    <a:pt x="2883" y="2710"/>
                  </a:lnTo>
                  <a:lnTo>
                    <a:pt x="2883" y="2710"/>
                  </a:lnTo>
                  <a:lnTo>
                    <a:pt x="2880" y="2711"/>
                  </a:lnTo>
                  <a:lnTo>
                    <a:pt x="2879" y="2713"/>
                  </a:lnTo>
                  <a:lnTo>
                    <a:pt x="2879" y="2716"/>
                  </a:lnTo>
                  <a:lnTo>
                    <a:pt x="2879" y="2716"/>
                  </a:lnTo>
                  <a:lnTo>
                    <a:pt x="2879" y="2719"/>
                  </a:lnTo>
                  <a:lnTo>
                    <a:pt x="2880" y="2720"/>
                  </a:lnTo>
                  <a:lnTo>
                    <a:pt x="2883" y="2720"/>
                  </a:lnTo>
                  <a:lnTo>
                    <a:pt x="2886" y="2720"/>
                  </a:lnTo>
                  <a:lnTo>
                    <a:pt x="2886" y="2720"/>
                  </a:lnTo>
                  <a:lnTo>
                    <a:pt x="2891" y="2719"/>
                  </a:lnTo>
                  <a:lnTo>
                    <a:pt x="2894" y="2720"/>
                  </a:lnTo>
                  <a:lnTo>
                    <a:pt x="2896" y="2723"/>
                  </a:lnTo>
                  <a:lnTo>
                    <a:pt x="2896" y="2728"/>
                  </a:lnTo>
                  <a:lnTo>
                    <a:pt x="2896" y="2728"/>
                  </a:lnTo>
                  <a:lnTo>
                    <a:pt x="2896" y="2731"/>
                  </a:lnTo>
                  <a:lnTo>
                    <a:pt x="2897" y="2734"/>
                  </a:lnTo>
                  <a:lnTo>
                    <a:pt x="2900" y="2737"/>
                  </a:lnTo>
                  <a:lnTo>
                    <a:pt x="2906" y="2739"/>
                  </a:lnTo>
                  <a:lnTo>
                    <a:pt x="2911" y="2740"/>
                  </a:lnTo>
                  <a:lnTo>
                    <a:pt x="2911" y="2740"/>
                  </a:lnTo>
                  <a:lnTo>
                    <a:pt x="2914" y="2740"/>
                  </a:lnTo>
                  <a:lnTo>
                    <a:pt x="2917" y="2737"/>
                  </a:lnTo>
                  <a:lnTo>
                    <a:pt x="2917" y="2734"/>
                  </a:lnTo>
                  <a:lnTo>
                    <a:pt x="2917" y="2731"/>
                  </a:lnTo>
                  <a:lnTo>
                    <a:pt x="2917" y="2731"/>
                  </a:lnTo>
                  <a:lnTo>
                    <a:pt x="2917" y="2722"/>
                  </a:lnTo>
                  <a:lnTo>
                    <a:pt x="2917" y="2717"/>
                  </a:lnTo>
                  <a:lnTo>
                    <a:pt x="2918" y="2714"/>
                  </a:lnTo>
                  <a:lnTo>
                    <a:pt x="2921" y="2711"/>
                  </a:lnTo>
                  <a:lnTo>
                    <a:pt x="2924" y="2710"/>
                  </a:lnTo>
                  <a:lnTo>
                    <a:pt x="2935" y="2707"/>
                  </a:lnTo>
                  <a:lnTo>
                    <a:pt x="2935" y="2707"/>
                  </a:lnTo>
                  <a:lnTo>
                    <a:pt x="2945" y="2704"/>
                  </a:lnTo>
                  <a:lnTo>
                    <a:pt x="2956" y="2701"/>
                  </a:lnTo>
                  <a:lnTo>
                    <a:pt x="2956" y="2701"/>
                  </a:lnTo>
                  <a:lnTo>
                    <a:pt x="2962" y="2699"/>
                  </a:lnTo>
                  <a:lnTo>
                    <a:pt x="2968" y="2699"/>
                  </a:lnTo>
                  <a:lnTo>
                    <a:pt x="2974" y="2701"/>
                  </a:lnTo>
                  <a:lnTo>
                    <a:pt x="2979" y="2705"/>
                  </a:lnTo>
                  <a:lnTo>
                    <a:pt x="2979" y="2705"/>
                  </a:lnTo>
                  <a:lnTo>
                    <a:pt x="2983" y="2708"/>
                  </a:lnTo>
                  <a:lnTo>
                    <a:pt x="2985" y="2710"/>
                  </a:lnTo>
                  <a:lnTo>
                    <a:pt x="2983" y="2713"/>
                  </a:lnTo>
                  <a:lnTo>
                    <a:pt x="2983" y="2713"/>
                  </a:lnTo>
                  <a:lnTo>
                    <a:pt x="2980" y="2717"/>
                  </a:lnTo>
                  <a:lnTo>
                    <a:pt x="2976" y="2719"/>
                  </a:lnTo>
                  <a:lnTo>
                    <a:pt x="2976" y="2719"/>
                  </a:lnTo>
                  <a:lnTo>
                    <a:pt x="2963" y="2720"/>
                  </a:lnTo>
                  <a:lnTo>
                    <a:pt x="2951" y="2720"/>
                  </a:lnTo>
                  <a:lnTo>
                    <a:pt x="2951" y="2720"/>
                  </a:lnTo>
                  <a:lnTo>
                    <a:pt x="2945" y="2722"/>
                  </a:lnTo>
                  <a:lnTo>
                    <a:pt x="2939" y="2725"/>
                  </a:lnTo>
                  <a:lnTo>
                    <a:pt x="2936" y="2728"/>
                  </a:lnTo>
                  <a:lnTo>
                    <a:pt x="2935" y="2732"/>
                  </a:lnTo>
                  <a:lnTo>
                    <a:pt x="2935" y="2732"/>
                  </a:lnTo>
                  <a:lnTo>
                    <a:pt x="2935" y="2735"/>
                  </a:lnTo>
                  <a:lnTo>
                    <a:pt x="2935" y="2737"/>
                  </a:lnTo>
                  <a:lnTo>
                    <a:pt x="2938" y="2739"/>
                  </a:lnTo>
                  <a:lnTo>
                    <a:pt x="2942" y="2739"/>
                  </a:lnTo>
                  <a:lnTo>
                    <a:pt x="2947" y="2739"/>
                  </a:lnTo>
                  <a:lnTo>
                    <a:pt x="2947" y="2739"/>
                  </a:lnTo>
                  <a:lnTo>
                    <a:pt x="2951" y="2740"/>
                  </a:lnTo>
                  <a:lnTo>
                    <a:pt x="2953" y="2743"/>
                  </a:lnTo>
                  <a:lnTo>
                    <a:pt x="2954" y="2748"/>
                  </a:lnTo>
                  <a:lnTo>
                    <a:pt x="2953" y="2754"/>
                  </a:lnTo>
                  <a:lnTo>
                    <a:pt x="2953" y="2754"/>
                  </a:lnTo>
                  <a:lnTo>
                    <a:pt x="2947" y="2767"/>
                  </a:lnTo>
                  <a:lnTo>
                    <a:pt x="2947" y="2772"/>
                  </a:lnTo>
                  <a:lnTo>
                    <a:pt x="2947" y="2776"/>
                  </a:lnTo>
                  <a:lnTo>
                    <a:pt x="2950" y="2779"/>
                  </a:lnTo>
                  <a:lnTo>
                    <a:pt x="2953" y="2784"/>
                  </a:lnTo>
                  <a:lnTo>
                    <a:pt x="2967" y="2790"/>
                  </a:lnTo>
                  <a:lnTo>
                    <a:pt x="2967" y="2790"/>
                  </a:lnTo>
                  <a:lnTo>
                    <a:pt x="2971" y="2793"/>
                  </a:lnTo>
                  <a:lnTo>
                    <a:pt x="2976" y="2796"/>
                  </a:lnTo>
                  <a:lnTo>
                    <a:pt x="2977" y="2799"/>
                  </a:lnTo>
                  <a:lnTo>
                    <a:pt x="2979" y="2800"/>
                  </a:lnTo>
                  <a:lnTo>
                    <a:pt x="2977" y="2803"/>
                  </a:lnTo>
                  <a:lnTo>
                    <a:pt x="2977" y="2803"/>
                  </a:lnTo>
                  <a:lnTo>
                    <a:pt x="2974" y="2808"/>
                  </a:lnTo>
                  <a:lnTo>
                    <a:pt x="2971" y="2814"/>
                  </a:lnTo>
                  <a:lnTo>
                    <a:pt x="2968" y="2826"/>
                  </a:lnTo>
                  <a:lnTo>
                    <a:pt x="2967" y="2832"/>
                  </a:lnTo>
                  <a:lnTo>
                    <a:pt x="2963" y="2838"/>
                  </a:lnTo>
                  <a:lnTo>
                    <a:pt x="2959" y="2843"/>
                  </a:lnTo>
                  <a:lnTo>
                    <a:pt x="2954" y="2847"/>
                  </a:lnTo>
                  <a:lnTo>
                    <a:pt x="2954" y="2847"/>
                  </a:lnTo>
                  <a:lnTo>
                    <a:pt x="2951" y="2849"/>
                  </a:lnTo>
                  <a:lnTo>
                    <a:pt x="2951" y="2852"/>
                  </a:lnTo>
                  <a:lnTo>
                    <a:pt x="2953" y="2853"/>
                  </a:lnTo>
                  <a:lnTo>
                    <a:pt x="2956" y="2855"/>
                  </a:lnTo>
                  <a:lnTo>
                    <a:pt x="2956" y="2855"/>
                  </a:lnTo>
                  <a:lnTo>
                    <a:pt x="2967" y="2861"/>
                  </a:lnTo>
                  <a:lnTo>
                    <a:pt x="2971" y="2864"/>
                  </a:lnTo>
                  <a:lnTo>
                    <a:pt x="2974" y="2870"/>
                  </a:lnTo>
                  <a:lnTo>
                    <a:pt x="2974" y="2870"/>
                  </a:lnTo>
                  <a:lnTo>
                    <a:pt x="2968" y="2870"/>
                  </a:lnTo>
                  <a:lnTo>
                    <a:pt x="2963" y="2870"/>
                  </a:lnTo>
                  <a:lnTo>
                    <a:pt x="2960" y="2868"/>
                  </a:lnTo>
                  <a:lnTo>
                    <a:pt x="2956" y="2864"/>
                  </a:lnTo>
                  <a:lnTo>
                    <a:pt x="2956" y="2864"/>
                  </a:lnTo>
                  <a:lnTo>
                    <a:pt x="2950" y="2861"/>
                  </a:lnTo>
                  <a:lnTo>
                    <a:pt x="2947" y="2859"/>
                  </a:lnTo>
                  <a:lnTo>
                    <a:pt x="2944" y="2859"/>
                  </a:lnTo>
                  <a:lnTo>
                    <a:pt x="2942" y="2861"/>
                  </a:lnTo>
                  <a:lnTo>
                    <a:pt x="2941" y="2868"/>
                  </a:lnTo>
                  <a:lnTo>
                    <a:pt x="2941" y="2868"/>
                  </a:lnTo>
                  <a:lnTo>
                    <a:pt x="2939" y="2873"/>
                  </a:lnTo>
                  <a:lnTo>
                    <a:pt x="2936" y="2877"/>
                  </a:lnTo>
                  <a:lnTo>
                    <a:pt x="2936" y="2877"/>
                  </a:lnTo>
                  <a:lnTo>
                    <a:pt x="2932" y="2890"/>
                  </a:lnTo>
                  <a:lnTo>
                    <a:pt x="2932" y="2894"/>
                  </a:lnTo>
                  <a:lnTo>
                    <a:pt x="2933" y="2899"/>
                  </a:lnTo>
                  <a:lnTo>
                    <a:pt x="2935" y="2903"/>
                  </a:lnTo>
                  <a:lnTo>
                    <a:pt x="2939" y="2906"/>
                  </a:lnTo>
                  <a:lnTo>
                    <a:pt x="2944" y="2908"/>
                  </a:lnTo>
                  <a:lnTo>
                    <a:pt x="2951" y="2911"/>
                  </a:lnTo>
                  <a:lnTo>
                    <a:pt x="2951" y="2911"/>
                  </a:lnTo>
                  <a:lnTo>
                    <a:pt x="2963" y="2914"/>
                  </a:lnTo>
                  <a:lnTo>
                    <a:pt x="2963" y="2914"/>
                  </a:lnTo>
                  <a:lnTo>
                    <a:pt x="2974" y="2918"/>
                  </a:lnTo>
                  <a:lnTo>
                    <a:pt x="2976" y="2920"/>
                  </a:lnTo>
                  <a:lnTo>
                    <a:pt x="2977" y="2923"/>
                  </a:lnTo>
                  <a:lnTo>
                    <a:pt x="2979" y="2924"/>
                  </a:lnTo>
                  <a:lnTo>
                    <a:pt x="2977" y="2929"/>
                  </a:lnTo>
                  <a:lnTo>
                    <a:pt x="2971" y="2936"/>
                  </a:lnTo>
                  <a:lnTo>
                    <a:pt x="2971" y="2936"/>
                  </a:lnTo>
                  <a:lnTo>
                    <a:pt x="2967" y="2941"/>
                  </a:lnTo>
                  <a:lnTo>
                    <a:pt x="2965" y="2944"/>
                  </a:lnTo>
                  <a:lnTo>
                    <a:pt x="2967" y="2945"/>
                  </a:lnTo>
                  <a:lnTo>
                    <a:pt x="2968" y="2947"/>
                  </a:lnTo>
                  <a:lnTo>
                    <a:pt x="2974" y="2948"/>
                  </a:lnTo>
                  <a:lnTo>
                    <a:pt x="2974" y="2948"/>
                  </a:lnTo>
                  <a:lnTo>
                    <a:pt x="2982" y="2950"/>
                  </a:lnTo>
                  <a:lnTo>
                    <a:pt x="2991" y="2954"/>
                  </a:lnTo>
                  <a:lnTo>
                    <a:pt x="2998" y="2958"/>
                  </a:lnTo>
                  <a:lnTo>
                    <a:pt x="3004" y="2964"/>
                  </a:lnTo>
                  <a:lnTo>
                    <a:pt x="3004" y="2964"/>
                  </a:lnTo>
                  <a:lnTo>
                    <a:pt x="3012" y="2970"/>
                  </a:lnTo>
                  <a:lnTo>
                    <a:pt x="3016" y="2977"/>
                  </a:lnTo>
                  <a:lnTo>
                    <a:pt x="3018" y="2986"/>
                  </a:lnTo>
                  <a:lnTo>
                    <a:pt x="3016" y="2995"/>
                  </a:lnTo>
                  <a:lnTo>
                    <a:pt x="3016" y="2995"/>
                  </a:lnTo>
                  <a:lnTo>
                    <a:pt x="3015" y="3007"/>
                  </a:lnTo>
                  <a:lnTo>
                    <a:pt x="3012" y="3021"/>
                  </a:lnTo>
                  <a:lnTo>
                    <a:pt x="3012" y="3021"/>
                  </a:ln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7" name="Freeform 12">
              <a:extLst>
                <a:ext uri="{FF2B5EF4-FFF2-40B4-BE49-F238E27FC236}">
                  <a16:creationId xmlns:a16="http://schemas.microsoft.com/office/drawing/2014/main" id="{F0716772-1C18-402E-8A5A-FF61410A3543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5" y="2070"/>
              <a:ext cx="1567" cy="1217"/>
            </a:xfrm>
            <a:custGeom>
              <a:avLst/>
              <a:gdLst>
                <a:gd name="T0" fmla="*/ 100 w 3133"/>
                <a:gd name="T1" fmla="*/ 1830 h 2434"/>
                <a:gd name="T2" fmla="*/ 77 w 3133"/>
                <a:gd name="T3" fmla="*/ 1770 h 2434"/>
                <a:gd name="T4" fmla="*/ 98 w 3133"/>
                <a:gd name="T5" fmla="*/ 1709 h 2434"/>
                <a:gd name="T6" fmla="*/ 56 w 3133"/>
                <a:gd name="T7" fmla="*/ 1638 h 2434"/>
                <a:gd name="T8" fmla="*/ 56 w 3133"/>
                <a:gd name="T9" fmla="*/ 1613 h 2434"/>
                <a:gd name="T10" fmla="*/ 7 w 3133"/>
                <a:gd name="T11" fmla="*/ 1626 h 2434"/>
                <a:gd name="T12" fmla="*/ 35 w 3133"/>
                <a:gd name="T13" fmla="*/ 1554 h 2434"/>
                <a:gd name="T14" fmla="*/ 124 w 3133"/>
                <a:gd name="T15" fmla="*/ 1512 h 2434"/>
                <a:gd name="T16" fmla="*/ 180 w 3133"/>
                <a:gd name="T17" fmla="*/ 1438 h 2434"/>
                <a:gd name="T18" fmla="*/ 222 w 3133"/>
                <a:gd name="T19" fmla="*/ 1412 h 2434"/>
                <a:gd name="T20" fmla="*/ 347 w 3133"/>
                <a:gd name="T21" fmla="*/ 1305 h 2434"/>
                <a:gd name="T22" fmla="*/ 448 w 3133"/>
                <a:gd name="T23" fmla="*/ 1274 h 2434"/>
                <a:gd name="T24" fmla="*/ 500 w 3133"/>
                <a:gd name="T25" fmla="*/ 1244 h 2434"/>
                <a:gd name="T26" fmla="*/ 601 w 3133"/>
                <a:gd name="T27" fmla="*/ 1234 h 2434"/>
                <a:gd name="T28" fmla="*/ 657 w 3133"/>
                <a:gd name="T29" fmla="*/ 1179 h 2434"/>
                <a:gd name="T30" fmla="*/ 682 w 3133"/>
                <a:gd name="T31" fmla="*/ 1048 h 2434"/>
                <a:gd name="T32" fmla="*/ 777 w 3133"/>
                <a:gd name="T33" fmla="*/ 981 h 2434"/>
                <a:gd name="T34" fmla="*/ 743 w 3133"/>
                <a:gd name="T35" fmla="*/ 920 h 2434"/>
                <a:gd name="T36" fmla="*/ 885 w 3133"/>
                <a:gd name="T37" fmla="*/ 855 h 2434"/>
                <a:gd name="T38" fmla="*/ 1051 w 3133"/>
                <a:gd name="T39" fmla="*/ 930 h 2434"/>
                <a:gd name="T40" fmla="*/ 1229 w 3133"/>
                <a:gd name="T41" fmla="*/ 995 h 2434"/>
                <a:gd name="T42" fmla="*/ 1264 w 3133"/>
                <a:gd name="T43" fmla="*/ 901 h 2434"/>
                <a:gd name="T44" fmla="*/ 1153 w 3133"/>
                <a:gd name="T45" fmla="*/ 850 h 2434"/>
                <a:gd name="T46" fmla="*/ 1170 w 3133"/>
                <a:gd name="T47" fmla="*/ 731 h 2434"/>
                <a:gd name="T48" fmla="*/ 1258 w 3133"/>
                <a:gd name="T49" fmla="*/ 758 h 2434"/>
                <a:gd name="T50" fmla="*/ 1320 w 3133"/>
                <a:gd name="T51" fmla="*/ 752 h 2434"/>
                <a:gd name="T52" fmla="*/ 1369 w 3133"/>
                <a:gd name="T53" fmla="*/ 622 h 2434"/>
                <a:gd name="T54" fmla="*/ 1421 w 3133"/>
                <a:gd name="T55" fmla="*/ 542 h 2434"/>
                <a:gd name="T56" fmla="*/ 1454 w 3133"/>
                <a:gd name="T57" fmla="*/ 429 h 2434"/>
                <a:gd name="T58" fmla="*/ 1461 w 3133"/>
                <a:gd name="T59" fmla="*/ 323 h 2434"/>
                <a:gd name="T60" fmla="*/ 1538 w 3133"/>
                <a:gd name="T61" fmla="*/ 208 h 2434"/>
                <a:gd name="T62" fmla="*/ 1609 w 3133"/>
                <a:gd name="T63" fmla="*/ 77 h 2434"/>
                <a:gd name="T64" fmla="*/ 1714 w 3133"/>
                <a:gd name="T65" fmla="*/ 33 h 2434"/>
                <a:gd name="T66" fmla="*/ 1934 w 3133"/>
                <a:gd name="T67" fmla="*/ 244 h 2434"/>
                <a:gd name="T68" fmla="*/ 2136 w 3133"/>
                <a:gd name="T69" fmla="*/ 427 h 2434"/>
                <a:gd name="T70" fmla="*/ 2339 w 3133"/>
                <a:gd name="T71" fmla="*/ 658 h 2434"/>
                <a:gd name="T72" fmla="*/ 2459 w 3133"/>
                <a:gd name="T73" fmla="*/ 868 h 2434"/>
                <a:gd name="T74" fmla="*/ 2648 w 3133"/>
                <a:gd name="T75" fmla="*/ 989 h 2434"/>
                <a:gd name="T76" fmla="*/ 2698 w 3133"/>
                <a:gd name="T77" fmla="*/ 853 h 2434"/>
                <a:gd name="T78" fmla="*/ 2816 w 3133"/>
                <a:gd name="T79" fmla="*/ 870 h 2434"/>
                <a:gd name="T80" fmla="*/ 2903 w 3133"/>
                <a:gd name="T81" fmla="*/ 613 h 2434"/>
                <a:gd name="T82" fmla="*/ 2989 w 3133"/>
                <a:gd name="T83" fmla="*/ 681 h 2434"/>
                <a:gd name="T84" fmla="*/ 3091 w 3133"/>
                <a:gd name="T85" fmla="*/ 994 h 2434"/>
                <a:gd name="T86" fmla="*/ 3119 w 3133"/>
                <a:gd name="T87" fmla="*/ 1273 h 2434"/>
                <a:gd name="T88" fmla="*/ 2947 w 3133"/>
                <a:gd name="T89" fmla="*/ 1398 h 2434"/>
                <a:gd name="T90" fmla="*/ 2856 w 3133"/>
                <a:gd name="T91" fmla="*/ 1607 h 2434"/>
                <a:gd name="T92" fmla="*/ 2825 w 3133"/>
                <a:gd name="T93" fmla="*/ 1770 h 2434"/>
                <a:gd name="T94" fmla="*/ 2675 w 3133"/>
                <a:gd name="T95" fmla="*/ 1873 h 2434"/>
                <a:gd name="T96" fmla="*/ 2508 w 3133"/>
                <a:gd name="T97" fmla="*/ 2004 h 2434"/>
                <a:gd name="T98" fmla="*/ 2233 w 3133"/>
                <a:gd name="T99" fmla="*/ 2110 h 2434"/>
                <a:gd name="T100" fmla="*/ 2052 w 3133"/>
                <a:gd name="T101" fmla="*/ 2084 h 2434"/>
                <a:gd name="T102" fmla="*/ 1917 w 3133"/>
                <a:gd name="T103" fmla="*/ 2111 h 2434"/>
                <a:gd name="T104" fmla="*/ 1818 w 3133"/>
                <a:gd name="T105" fmla="*/ 2274 h 2434"/>
                <a:gd name="T106" fmla="*/ 1715 w 3133"/>
                <a:gd name="T107" fmla="*/ 2421 h 2434"/>
                <a:gd name="T108" fmla="*/ 1634 w 3133"/>
                <a:gd name="T109" fmla="*/ 2302 h 2434"/>
                <a:gd name="T110" fmla="*/ 1460 w 3133"/>
                <a:gd name="T111" fmla="*/ 2234 h 2434"/>
                <a:gd name="T112" fmla="*/ 1289 w 3133"/>
                <a:gd name="T113" fmla="*/ 2190 h 2434"/>
                <a:gd name="T114" fmla="*/ 1170 w 3133"/>
                <a:gd name="T115" fmla="*/ 2286 h 2434"/>
                <a:gd name="T116" fmla="*/ 758 w 3133"/>
                <a:gd name="T117" fmla="*/ 2185 h 2434"/>
                <a:gd name="T118" fmla="*/ 640 w 3133"/>
                <a:gd name="T119" fmla="*/ 2092 h 2434"/>
                <a:gd name="T120" fmla="*/ 441 w 3133"/>
                <a:gd name="T121" fmla="*/ 2072 h 2434"/>
                <a:gd name="T122" fmla="*/ 240 w 3133"/>
                <a:gd name="T123" fmla="*/ 1972 h 24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33" h="2434">
                  <a:moveTo>
                    <a:pt x="133" y="1927"/>
                  </a:moveTo>
                  <a:lnTo>
                    <a:pt x="133" y="1927"/>
                  </a:lnTo>
                  <a:lnTo>
                    <a:pt x="136" y="1913"/>
                  </a:lnTo>
                  <a:lnTo>
                    <a:pt x="137" y="1901"/>
                  </a:lnTo>
                  <a:lnTo>
                    <a:pt x="137" y="1901"/>
                  </a:lnTo>
                  <a:lnTo>
                    <a:pt x="139" y="1892"/>
                  </a:lnTo>
                  <a:lnTo>
                    <a:pt x="137" y="1883"/>
                  </a:lnTo>
                  <a:lnTo>
                    <a:pt x="133" y="1876"/>
                  </a:lnTo>
                  <a:lnTo>
                    <a:pt x="125" y="1870"/>
                  </a:lnTo>
                  <a:lnTo>
                    <a:pt x="125" y="1870"/>
                  </a:lnTo>
                  <a:lnTo>
                    <a:pt x="119" y="1864"/>
                  </a:lnTo>
                  <a:lnTo>
                    <a:pt x="112" y="1860"/>
                  </a:lnTo>
                  <a:lnTo>
                    <a:pt x="103" y="1856"/>
                  </a:lnTo>
                  <a:lnTo>
                    <a:pt x="95" y="1854"/>
                  </a:lnTo>
                  <a:lnTo>
                    <a:pt x="95" y="1854"/>
                  </a:lnTo>
                  <a:lnTo>
                    <a:pt x="89" y="1853"/>
                  </a:lnTo>
                  <a:lnTo>
                    <a:pt x="88" y="1851"/>
                  </a:lnTo>
                  <a:lnTo>
                    <a:pt x="86" y="1850"/>
                  </a:lnTo>
                  <a:lnTo>
                    <a:pt x="88" y="1847"/>
                  </a:lnTo>
                  <a:lnTo>
                    <a:pt x="92" y="1842"/>
                  </a:lnTo>
                  <a:lnTo>
                    <a:pt x="92" y="1842"/>
                  </a:lnTo>
                  <a:lnTo>
                    <a:pt x="98" y="1835"/>
                  </a:lnTo>
                  <a:lnTo>
                    <a:pt x="100" y="1830"/>
                  </a:lnTo>
                  <a:lnTo>
                    <a:pt x="98" y="1829"/>
                  </a:lnTo>
                  <a:lnTo>
                    <a:pt x="97" y="1826"/>
                  </a:lnTo>
                  <a:lnTo>
                    <a:pt x="95" y="1824"/>
                  </a:lnTo>
                  <a:lnTo>
                    <a:pt x="84" y="1820"/>
                  </a:lnTo>
                  <a:lnTo>
                    <a:pt x="84" y="1820"/>
                  </a:lnTo>
                  <a:lnTo>
                    <a:pt x="72" y="1817"/>
                  </a:lnTo>
                  <a:lnTo>
                    <a:pt x="72" y="1817"/>
                  </a:lnTo>
                  <a:lnTo>
                    <a:pt x="65" y="1814"/>
                  </a:lnTo>
                  <a:lnTo>
                    <a:pt x="60" y="1812"/>
                  </a:lnTo>
                  <a:lnTo>
                    <a:pt x="56" y="1809"/>
                  </a:lnTo>
                  <a:lnTo>
                    <a:pt x="54" y="1805"/>
                  </a:lnTo>
                  <a:lnTo>
                    <a:pt x="53" y="1800"/>
                  </a:lnTo>
                  <a:lnTo>
                    <a:pt x="53" y="1796"/>
                  </a:lnTo>
                  <a:lnTo>
                    <a:pt x="57" y="1783"/>
                  </a:lnTo>
                  <a:lnTo>
                    <a:pt x="57" y="1783"/>
                  </a:lnTo>
                  <a:lnTo>
                    <a:pt x="60" y="1779"/>
                  </a:lnTo>
                  <a:lnTo>
                    <a:pt x="62" y="1774"/>
                  </a:lnTo>
                  <a:lnTo>
                    <a:pt x="62" y="1774"/>
                  </a:lnTo>
                  <a:lnTo>
                    <a:pt x="63" y="1767"/>
                  </a:lnTo>
                  <a:lnTo>
                    <a:pt x="65" y="1765"/>
                  </a:lnTo>
                  <a:lnTo>
                    <a:pt x="68" y="1765"/>
                  </a:lnTo>
                  <a:lnTo>
                    <a:pt x="71" y="1767"/>
                  </a:lnTo>
                  <a:lnTo>
                    <a:pt x="77" y="1770"/>
                  </a:lnTo>
                  <a:lnTo>
                    <a:pt x="77" y="1770"/>
                  </a:lnTo>
                  <a:lnTo>
                    <a:pt x="81" y="1774"/>
                  </a:lnTo>
                  <a:lnTo>
                    <a:pt x="84" y="1776"/>
                  </a:lnTo>
                  <a:lnTo>
                    <a:pt x="89" y="1776"/>
                  </a:lnTo>
                  <a:lnTo>
                    <a:pt x="95" y="1776"/>
                  </a:lnTo>
                  <a:lnTo>
                    <a:pt x="95" y="1776"/>
                  </a:lnTo>
                  <a:lnTo>
                    <a:pt x="92" y="1770"/>
                  </a:lnTo>
                  <a:lnTo>
                    <a:pt x="88" y="1767"/>
                  </a:lnTo>
                  <a:lnTo>
                    <a:pt x="77" y="1761"/>
                  </a:lnTo>
                  <a:lnTo>
                    <a:pt x="77" y="1761"/>
                  </a:lnTo>
                  <a:lnTo>
                    <a:pt x="74" y="1759"/>
                  </a:lnTo>
                  <a:lnTo>
                    <a:pt x="72" y="1758"/>
                  </a:lnTo>
                  <a:lnTo>
                    <a:pt x="72" y="1755"/>
                  </a:lnTo>
                  <a:lnTo>
                    <a:pt x="75" y="1753"/>
                  </a:lnTo>
                  <a:lnTo>
                    <a:pt x="75" y="1753"/>
                  </a:lnTo>
                  <a:lnTo>
                    <a:pt x="80" y="1749"/>
                  </a:lnTo>
                  <a:lnTo>
                    <a:pt x="84" y="1744"/>
                  </a:lnTo>
                  <a:lnTo>
                    <a:pt x="88" y="1738"/>
                  </a:lnTo>
                  <a:lnTo>
                    <a:pt x="89" y="1732"/>
                  </a:lnTo>
                  <a:lnTo>
                    <a:pt x="92" y="1720"/>
                  </a:lnTo>
                  <a:lnTo>
                    <a:pt x="95" y="1714"/>
                  </a:lnTo>
                  <a:lnTo>
                    <a:pt x="98" y="1709"/>
                  </a:lnTo>
                  <a:lnTo>
                    <a:pt x="98" y="1709"/>
                  </a:lnTo>
                  <a:lnTo>
                    <a:pt x="100" y="1706"/>
                  </a:lnTo>
                  <a:lnTo>
                    <a:pt x="98" y="1705"/>
                  </a:lnTo>
                  <a:lnTo>
                    <a:pt x="97" y="1702"/>
                  </a:lnTo>
                  <a:lnTo>
                    <a:pt x="92" y="1699"/>
                  </a:lnTo>
                  <a:lnTo>
                    <a:pt x="88" y="1696"/>
                  </a:lnTo>
                  <a:lnTo>
                    <a:pt x="88" y="1696"/>
                  </a:lnTo>
                  <a:lnTo>
                    <a:pt x="74" y="1690"/>
                  </a:lnTo>
                  <a:lnTo>
                    <a:pt x="71" y="1685"/>
                  </a:lnTo>
                  <a:lnTo>
                    <a:pt x="68" y="1682"/>
                  </a:lnTo>
                  <a:lnTo>
                    <a:pt x="68" y="1678"/>
                  </a:lnTo>
                  <a:lnTo>
                    <a:pt x="68" y="1673"/>
                  </a:lnTo>
                  <a:lnTo>
                    <a:pt x="74" y="1660"/>
                  </a:lnTo>
                  <a:lnTo>
                    <a:pt x="74" y="1660"/>
                  </a:lnTo>
                  <a:lnTo>
                    <a:pt x="75" y="1654"/>
                  </a:lnTo>
                  <a:lnTo>
                    <a:pt x="74" y="1649"/>
                  </a:lnTo>
                  <a:lnTo>
                    <a:pt x="72" y="1646"/>
                  </a:lnTo>
                  <a:lnTo>
                    <a:pt x="68" y="1645"/>
                  </a:lnTo>
                  <a:lnTo>
                    <a:pt x="68" y="1645"/>
                  </a:lnTo>
                  <a:lnTo>
                    <a:pt x="63" y="1645"/>
                  </a:lnTo>
                  <a:lnTo>
                    <a:pt x="59" y="1645"/>
                  </a:lnTo>
                  <a:lnTo>
                    <a:pt x="56" y="1643"/>
                  </a:lnTo>
                  <a:lnTo>
                    <a:pt x="56" y="1641"/>
                  </a:lnTo>
                  <a:lnTo>
                    <a:pt x="56" y="1638"/>
                  </a:lnTo>
                  <a:lnTo>
                    <a:pt x="56" y="1638"/>
                  </a:lnTo>
                  <a:lnTo>
                    <a:pt x="57" y="1634"/>
                  </a:lnTo>
                  <a:lnTo>
                    <a:pt x="60" y="1631"/>
                  </a:lnTo>
                  <a:lnTo>
                    <a:pt x="66" y="1628"/>
                  </a:lnTo>
                  <a:lnTo>
                    <a:pt x="72" y="1626"/>
                  </a:lnTo>
                  <a:lnTo>
                    <a:pt x="72" y="1626"/>
                  </a:lnTo>
                  <a:lnTo>
                    <a:pt x="84" y="1626"/>
                  </a:lnTo>
                  <a:lnTo>
                    <a:pt x="97" y="1625"/>
                  </a:lnTo>
                  <a:lnTo>
                    <a:pt x="97" y="1625"/>
                  </a:lnTo>
                  <a:lnTo>
                    <a:pt x="101" y="1623"/>
                  </a:lnTo>
                  <a:lnTo>
                    <a:pt x="104" y="1619"/>
                  </a:lnTo>
                  <a:lnTo>
                    <a:pt x="104" y="1619"/>
                  </a:lnTo>
                  <a:lnTo>
                    <a:pt x="106" y="1616"/>
                  </a:lnTo>
                  <a:lnTo>
                    <a:pt x="104" y="1614"/>
                  </a:lnTo>
                  <a:lnTo>
                    <a:pt x="100" y="1611"/>
                  </a:lnTo>
                  <a:lnTo>
                    <a:pt x="100" y="1611"/>
                  </a:lnTo>
                  <a:lnTo>
                    <a:pt x="95" y="1607"/>
                  </a:lnTo>
                  <a:lnTo>
                    <a:pt x="89" y="1605"/>
                  </a:lnTo>
                  <a:lnTo>
                    <a:pt x="83" y="1605"/>
                  </a:lnTo>
                  <a:lnTo>
                    <a:pt x="77" y="1607"/>
                  </a:lnTo>
                  <a:lnTo>
                    <a:pt x="77" y="1607"/>
                  </a:lnTo>
                  <a:lnTo>
                    <a:pt x="66" y="1610"/>
                  </a:lnTo>
                  <a:lnTo>
                    <a:pt x="56" y="1613"/>
                  </a:lnTo>
                  <a:lnTo>
                    <a:pt x="56" y="1613"/>
                  </a:lnTo>
                  <a:lnTo>
                    <a:pt x="45" y="1616"/>
                  </a:lnTo>
                  <a:lnTo>
                    <a:pt x="42" y="1617"/>
                  </a:lnTo>
                  <a:lnTo>
                    <a:pt x="39" y="1620"/>
                  </a:lnTo>
                  <a:lnTo>
                    <a:pt x="38" y="1623"/>
                  </a:lnTo>
                  <a:lnTo>
                    <a:pt x="38" y="1628"/>
                  </a:lnTo>
                  <a:lnTo>
                    <a:pt x="38" y="1637"/>
                  </a:lnTo>
                  <a:lnTo>
                    <a:pt x="38" y="1637"/>
                  </a:lnTo>
                  <a:lnTo>
                    <a:pt x="38" y="1640"/>
                  </a:lnTo>
                  <a:lnTo>
                    <a:pt x="38" y="1643"/>
                  </a:lnTo>
                  <a:lnTo>
                    <a:pt x="35" y="1646"/>
                  </a:lnTo>
                  <a:lnTo>
                    <a:pt x="32" y="1646"/>
                  </a:lnTo>
                  <a:lnTo>
                    <a:pt x="32" y="1646"/>
                  </a:lnTo>
                  <a:lnTo>
                    <a:pt x="27" y="1645"/>
                  </a:lnTo>
                  <a:lnTo>
                    <a:pt x="21" y="1643"/>
                  </a:lnTo>
                  <a:lnTo>
                    <a:pt x="18" y="1640"/>
                  </a:lnTo>
                  <a:lnTo>
                    <a:pt x="17" y="1637"/>
                  </a:lnTo>
                  <a:lnTo>
                    <a:pt x="17" y="1634"/>
                  </a:lnTo>
                  <a:lnTo>
                    <a:pt x="17" y="1634"/>
                  </a:lnTo>
                  <a:lnTo>
                    <a:pt x="17" y="1629"/>
                  </a:lnTo>
                  <a:lnTo>
                    <a:pt x="15" y="1626"/>
                  </a:lnTo>
                  <a:lnTo>
                    <a:pt x="12" y="1625"/>
                  </a:lnTo>
                  <a:lnTo>
                    <a:pt x="7" y="1626"/>
                  </a:lnTo>
                  <a:lnTo>
                    <a:pt x="7" y="1626"/>
                  </a:lnTo>
                  <a:lnTo>
                    <a:pt x="4" y="1626"/>
                  </a:lnTo>
                  <a:lnTo>
                    <a:pt x="1" y="1626"/>
                  </a:lnTo>
                  <a:lnTo>
                    <a:pt x="0" y="1625"/>
                  </a:lnTo>
                  <a:lnTo>
                    <a:pt x="0" y="1622"/>
                  </a:lnTo>
                  <a:lnTo>
                    <a:pt x="0" y="1622"/>
                  </a:lnTo>
                  <a:lnTo>
                    <a:pt x="0" y="1619"/>
                  </a:lnTo>
                  <a:lnTo>
                    <a:pt x="1" y="1617"/>
                  </a:lnTo>
                  <a:lnTo>
                    <a:pt x="4" y="1616"/>
                  </a:lnTo>
                  <a:lnTo>
                    <a:pt x="4" y="1616"/>
                  </a:lnTo>
                  <a:lnTo>
                    <a:pt x="14" y="1613"/>
                  </a:lnTo>
                  <a:lnTo>
                    <a:pt x="17" y="1610"/>
                  </a:lnTo>
                  <a:lnTo>
                    <a:pt x="18" y="1608"/>
                  </a:lnTo>
                  <a:lnTo>
                    <a:pt x="20" y="1605"/>
                  </a:lnTo>
                  <a:lnTo>
                    <a:pt x="20" y="1601"/>
                  </a:lnTo>
                  <a:lnTo>
                    <a:pt x="17" y="1592"/>
                  </a:lnTo>
                  <a:lnTo>
                    <a:pt x="17" y="1592"/>
                  </a:lnTo>
                  <a:lnTo>
                    <a:pt x="15" y="1586"/>
                  </a:lnTo>
                  <a:lnTo>
                    <a:pt x="15" y="1580"/>
                  </a:lnTo>
                  <a:lnTo>
                    <a:pt x="18" y="1574"/>
                  </a:lnTo>
                  <a:lnTo>
                    <a:pt x="23" y="1566"/>
                  </a:lnTo>
                  <a:lnTo>
                    <a:pt x="27" y="1560"/>
                  </a:lnTo>
                  <a:lnTo>
                    <a:pt x="35" y="1554"/>
                  </a:lnTo>
                  <a:lnTo>
                    <a:pt x="41" y="1549"/>
                  </a:lnTo>
                  <a:lnTo>
                    <a:pt x="48" y="1546"/>
                  </a:lnTo>
                  <a:lnTo>
                    <a:pt x="48" y="1546"/>
                  </a:lnTo>
                  <a:lnTo>
                    <a:pt x="54" y="1545"/>
                  </a:lnTo>
                  <a:lnTo>
                    <a:pt x="59" y="1542"/>
                  </a:lnTo>
                  <a:lnTo>
                    <a:pt x="62" y="1539"/>
                  </a:lnTo>
                  <a:lnTo>
                    <a:pt x="65" y="1531"/>
                  </a:lnTo>
                  <a:lnTo>
                    <a:pt x="65" y="1531"/>
                  </a:lnTo>
                  <a:lnTo>
                    <a:pt x="68" y="1525"/>
                  </a:lnTo>
                  <a:lnTo>
                    <a:pt x="71" y="1522"/>
                  </a:lnTo>
                  <a:lnTo>
                    <a:pt x="75" y="1521"/>
                  </a:lnTo>
                  <a:lnTo>
                    <a:pt x="80" y="1519"/>
                  </a:lnTo>
                  <a:lnTo>
                    <a:pt x="91" y="1521"/>
                  </a:lnTo>
                  <a:lnTo>
                    <a:pt x="103" y="1522"/>
                  </a:lnTo>
                  <a:lnTo>
                    <a:pt x="103" y="1522"/>
                  </a:lnTo>
                  <a:lnTo>
                    <a:pt x="106" y="1524"/>
                  </a:lnTo>
                  <a:lnTo>
                    <a:pt x="110" y="1525"/>
                  </a:lnTo>
                  <a:lnTo>
                    <a:pt x="115" y="1527"/>
                  </a:lnTo>
                  <a:lnTo>
                    <a:pt x="116" y="1525"/>
                  </a:lnTo>
                  <a:lnTo>
                    <a:pt x="118" y="1524"/>
                  </a:lnTo>
                  <a:lnTo>
                    <a:pt x="118" y="1524"/>
                  </a:lnTo>
                  <a:lnTo>
                    <a:pt x="121" y="1518"/>
                  </a:lnTo>
                  <a:lnTo>
                    <a:pt x="124" y="1512"/>
                  </a:lnTo>
                  <a:lnTo>
                    <a:pt x="125" y="1504"/>
                  </a:lnTo>
                  <a:lnTo>
                    <a:pt x="124" y="1498"/>
                  </a:lnTo>
                  <a:lnTo>
                    <a:pt x="124" y="1498"/>
                  </a:lnTo>
                  <a:lnTo>
                    <a:pt x="122" y="1493"/>
                  </a:lnTo>
                  <a:lnTo>
                    <a:pt x="121" y="1490"/>
                  </a:lnTo>
                  <a:lnTo>
                    <a:pt x="122" y="1489"/>
                  </a:lnTo>
                  <a:lnTo>
                    <a:pt x="124" y="1487"/>
                  </a:lnTo>
                  <a:lnTo>
                    <a:pt x="131" y="1484"/>
                  </a:lnTo>
                  <a:lnTo>
                    <a:pt x="131" y="1484"/>
                  </a:lnTo>
                  <a:lnTo>
                    <a:pt x="134" y="1483"/>
                  </a:lnTo>
                  <a:lnTo>
                    <a:pt x="137" y="1480"/>
                  </a:lnTo>
                  <a:lnTo>
                    <a:pt x="140" y="1481"/>
                  </a:lnTo>
                  <a:lnTo>
                    <a:pt x="143" y="1486"/>
                  </a:lnTo>
                  <a:lnTo>
                    <a:pt x="143" y="1486"/>
                  </a:lnTo>
                  <a:lnTo>
                    <a:pt x="146" y="1489"/>
                  </a:lnTo>
                  <a:lnTo>
                    <a:pt x="152" y="1490"/>
                  </a:lnTo>
                  <a:lnTo>
                    <a:pt x="165" y="1495"/>
                  </a:lnTo>
                  <a:lnTo>
                    <a:pt x="165" y="1495"/>
                  </a:lnTo>
                  <a:lnTo>
                    <a:pt x="172" y="1471"/>
                  </a:lnTo>
                  <a:lnTo>
                    <a:pt x="177" y="1448"/>
                  </a:lnTo>
                  <a:lnTo>
                    <a:pt x="177" y="1448"/>
                  </a:lnTo>
                  <a:lnTo>
                    <a:pt x="178" y="1441"/>
                  </a:lnTo>
                  <a:lnTo>
                    <a:pt x="180" y="1438"/>
                  </a:lnTo>
                  <a:lnTo>
                    <a:pt x="183" y="1436"/>
                  </a:lnTo>
                  <a:lnTo>
                    <a:pt x="186" y="1435"/>
                  </a:lnTo>
                  <a:lnTo>
                    <a:pt x="192" y="1436"/>
                  </a:lnTo>
                  <a:lnTo>
                    <a:pt x="198" y="1436"/>
                  </a:lnTo>
                  <a:lnTo>
                    <a:pt x="198" y="1436"/>
                  </a:lnTo>
                  <a:lnTo>
                    <a:pt x="202" y="1436"/>
                  </a:lnTo>
                  <a:lnTo>
                    <a:pt x="207" y="1439"/>
                  </a:lnTo>
                  <a:lnTo>
                    <a:pt x="211" y="1439"/>
                  </a:lnTo>
                  <a:lnTo>
                    <a:pt x="213" y="1438"/>
                  </a:lnTo>
                  <a:lnTo>
                    <a:pt x="214" y="1436"/>
                  </a:lnTo>
                  <a:lnTo>
                    <a:pt x="214" y="1436"/>
                  </a:lnTo>
                  <a:lnTo>
                    <a:pt x="214" y="1432"/>
                  </a:lnTo>
                  <a:lnTo>
                    <a:pt x="211" y="1425"/>
                  </a:lnTo>
                  <a:lnTo>
                    <a:pt x="207" y="1421"/>
                  </a:lnTo>
                  <a:lnTo>
                    <a:pt x="202" y="1418"/>
                  </a:lnTo>
                  <a:lnTo>
                    <a:pt x="202" y="1418"/>
                  </a:lnTo>
                  <a:lnTo>
                    <a:pt x="193" y="1413"/>
                  </a:lnTo>
                  <a:lnTo>
                    <a:pt x="189" y="1409"/>
                  </a:lnTo>
                  <a:lnTo>
                    <a:pt x="184" y="1404"/>
                  </a:lnTo>
                  <a:lnTo>
                    <a:pt x="184" y="1404"/>
                  </a:lnTo>
                  <a:lnTo>
                    <a:pt x="201" y="1407"/>
                  </a:lnTo>
                  <a:lnTo>
                    <a:pt x="216" y="1409"/>
                  </a:lnTo>
                  <a:lnTo>
                    <a:pt x="222" y="1412"/>
                  </a:lnTo>
                  <a:lnTo>
                    <a:pt x="228" y="1416"/>
                  </a:lnTo>
                  <a:lnTo>
                    <a:pt x="232" y="1422"/>
                  </a:lnTo>
                  <a:lnTo>
                    <a:pt x="235" y="1432"/>
                  </a:lnTo>
                  <a:lnTo>
                    <a:pt x="235" y="1432"/>
                  </a:lnTo>
                  <a:lnTo>
                    <a:pt x="245" y="1429"/>
                  </a:lnTo>
                  <a:lnTo>
                    <a:pt x="254" y="1422"/>
                  </a:lnTo>
                  <a:lnTo>
                    <a:pt x="272" y="1412"/>
                  </a:lnTo>
                  <a:lnTo>
                    <a:pt x="288" y="1400"/>
                  </a:lnTo>
                  <a:lnTo>
                    <a:pt x="305" y="1388"/>
                  </a:lnTo>
                  <a:lnTo>
                    <a:pt x="305" y="1388"/>
                  </a:lnTo>
                  <a:lnTo>
                    <a:pt x="314" y="1380"/>
                  </a:lnTo>
                  <a:lnTo>
                    <a:pt x="322" y="1371"/>
                  </a:lnTo>
                  <a:lnTo>
                    <a:pt x="325" y="1367"/>
                  </a:lnTo>
                  <a:lnTo>
                    <a:pt x="328" y="1361"/>
                  </a:lnTo>
                  <a:lnTo>
                    <a:pt x="328" y="1355"/>
                  </a:lnTo>
                  <a:lnTo>
                    <a:pt x="328" y="1347"/>
                  </a:lnTo>
                  <a:lnTo>
                    <a:pt x="328" y="1347"/>
                  </a:lnTo>
                  <a:lnTo>
                    <a:pt x="328" y="1344"/>
                  </a:lnTo>
                  <a:lnTo>
                    <a:pt x="328" y="1344"/>
                  </a:lnTo>
                  <a:lnTo>
                    <a:pt x="334" y="1338"/>
                  </a:lnTo>
                  <a:lnTo>
                    <a:pt x="337" y="1332"/>
                  </a:lnTo>
                  <a:lnTo>
                    <a:pt x="343" y="1318"/>
                  </a:lnTo>
                  <a:lnTo>
                    <a:pt x="347" y="1305"/>
                  </a:lnTo>
                  <a:lnTo>
                    <a:pt x="352" y="1299"/>
                  </a:lnTo>
                  <a:lnTo>
                    <a:pt x="356" y="1296"/>
                  </a:lnTo>
                  <a:lnTo>
                    <a:pt x="356" y="1296"/>
                  </a:lnTo>
                  <a:lnTo>
                    <a:pt x="365" y="1290"/>
                  </a:lnTo>
                  <a:lnTo>
                    <a:pt x="377" y="1284"/>
                  </a:lnTo>
                  <a:lnTo>
                    <a:pt x="382" y="1282"/>
                  </a:lnTo>
                  <a:lnTo>
                    <a:pt x="388" y="1280"/>
                  </a:lnTo>
                  <a:lnTo>
                    <a:pt x="392" y="1280"/>
                  </a:lnTo>
                  <a:lnTo>
                    <a:pt x="397" y="1282"/>
                  </a:lnTo>
                  <a:lnTo>
                    <a:pt x="397" y="1282"/>
                  </a:lnTo>
                  <a:lnTo>
                    <a:pt x="402" y="1284"/>
                  </a:lnTo>
                  <a:lnTo>
                    <a:pt x="406" y="1285"/>
                  </a:lnTo>
                  <a:lnTo>
                    <a:pt x="415" y="1284"/>
                  </a:lnTo>
                  <a:lnTo>
                    <a:pt x="420" y="1284"/>
                  </a:lnTo>
                  <a:lnTo>
                    <a:pt x="424" y="1285"/>
                  </a:lnTo>
                  <a:lnTo>
                    <a:pt x="427" y="1288"/>
                  </a:lnTo>
                  <a:lnTo>
                    <a:pt x="430" y="1293"/>
                  </a:lnTo>
                  <a:lnTo>
                    <a:pt x="430" y="1293"/>
                  </a:lnTo>
                  <a:lnTo>
                    <a:pt x="432" y="1294"/>
                  </a:lnTo>
                  <a:lnTo>
                    <a:pt x="433" y="1293"/>
                  </a:lnTo>
                  <a:lnTo>
                    <a:pt x="438" y="1288"/>
                  </a:lnTo>
                  <a:lnTo>
                    <a:pt x="438" y="1288"/>
                  </a:lnTo>
                  <a:lnTo>
                    <a:pt x="448" y="1274"/>
                  </a:lnTo>
                  <a:lnTo>
                    <a:pt x="448" y="1274"/>
                  </a:lnTo>
                  <a:lnTo>
                    <a:pt x="454" y="1267"/>
                  </a:lnTo>
                  <a:lnTo>
                    <a:pt x="459" y="1262"/>
                  </a:lnTo>
                  <a:lnTo>
                    <a:pt x="462" y="1262"/>
                  </a:lnTo>
                  <a:lnTo>
                    <a:pt x="466" y="1262"/>
                  </a:lnTo>
                  <a:lnTo>
                    <a:pt x="469" y="1265"/>
                  </a:lnTo>
                  <a:lnTo>
                    <a:pt x="474" y="1268"/>
                  </a:lnTo>
                  <a:lnTo>
                    <a:pt x="474" y="1268"/>
                  </a:lnTo>
                  <a:lnTo>
                    <a:pt x="480" y="1273"/>
                  </a:lnTo>
                  <a:lnTo>
                    <a:pt x="486" y="1274"/>
                  </a:lnTo>
                  <a:lnTo>
                    <a:pt x="491" y="1274"/>
                  </a:lnTo>
                  <a:lnTo>
                    <a:pt x="494" y="1273"/>
                  </a:lnTo>
                  <a:lnTo>
                    <a:pt x="497" y="1271"/>
                  </a:lnTo>
                  <a:lnTo>
                    <a:pt x="500" y="1267"/>
                  </a:lnTo>
                  <a:lnTo>
                    <a:pt x="500" y="1267"/>
                  </a:lnTo>
                  <a:lnTo>
                    <a:pt x="503" y="1262"/>
                  </a:lnTo>
                  <a:lnTo>
                    <a:pt x="503" y="1259"/>
                  </a:lnTo>
                  <a:lnTo>
                    <a:pt x="501" y="1256"/>
                  </a:lnTo>
                  <a:lnTo>
                    <a:pt x="501" y="1256"/>
                  </a:lnTo>
                  <a:lnTo>
                    <a:pt x="497" y="1253"/>
                  </a:lnTo>
                  <a:lnTo>
                    <a:pt x="497" y="1252"/>
                  </a:lnTo>
                  <a:lnTo>
                    <a:pt x="498" y="1249"/>
                  </a:lnTo>
                  <a:lnTo>
                    <a:pt x="500" y="1244"/>
                  </a:lnTo>
                  <a:lnTo>
                    <a:pt x="500" y="1244"/>
                  </a:lnTo>
                  <a:lnTo>
                    <a:pt x="504" y="1243"/>
                  </a:lnTo>
                  <a:lnTo>
                    <a:pt x="507" y="1241"/>
                  </a:lnTo>
                  <a:lnTo>
                    <a:pt x="510" y="1241"/>
                  </a:lnTo>
                  <a:lnTo>
                    <a:pt x="515" y="1243"/>
                  </a:lnTo>
                  <a:lnTo>
                    <a:pt x="515" y="1243"/>
                  </a:lnTo>
                  <a:lnTo>
                    <a:pt x="524" y="1249"/>
                  </a:lnTo>
                  <a:lnTo>
                    <a:pt x="524" y="1249"/>
                  </a:lnTo>
                  <a:lnTo>
                    <a:pt x="528" y="1253"/>
                  </a:lnTo>
                  <a:lnTo>
                    <a:pt x="533" y="1256"/>
                  </a:lnTo>
                  <a:lnTo>
                    <a:pt x="534" y="1256"/>
                  </a:lnTo>
                  <a:lnTo>
                    <a:pt x="537" y="1255"/>
                  </a:lnTo>
                  <a:lnTo>
                    <a:pt x="539" y="1252"/>
                  </a:lnTo>
                  <a:lnTo>
                    <a:pt x="540" y="1246"/>
                  </a:lnTo>
                  <a:lnTo>
                    <a:pt x="540" y="1246"/>
                  </a:lnTo>
                  <a:lnTo>
                    <a:pt x="542" y="1243"/>
                  </a:lnTo>
                  <a:lnTo>
                    <a:pt x="543" y="1241"/>
                  </a:lnTo>
                  <a:lnTo>
                    <a:pt x="550" y="1240"/>
                  </a:lnTo>
                  <a:lnTo>
                    <a:pt x="560" y="1241"/>
                  </a:lnTo>
                  <a:lnTo>
                    <a:pt x="560" y="1241"/>
                  </a:lnTo>
                  <a:lnTo>
                    <a:pt x="574" y="1238"/>
                  </a:lnTo>
                  <a:lnTo>
                    <a:pt x="587" y="1235"/>
                  </a:lnTo>
                  <a:lnTo>
                    <a:pt x="601" y="1234"/>
                  </a:lnTo>
                  <a:lnTo>
                    <a:pt x="607" y="1234"/>
                  </a:lnTo>
                  <a:lnTo>
                    <a:pt x="614" y="1235"/>
                  </a:lnTo>
                  <a:lnTo>
                    <a:pt x="614" y="1235"/>
                  </a:lnTo>
                  <a:lnTo>
                    <a:pt x="617" y="1235"/>
                  </a:lnTo>
                  <a:lnTo>
                    <a:pt x="619" y="1234"/>
                  </a:lnTo>
                  <a:lnTo>
                    <a:pt x="619" y="1232"/>
                  </a:lnTo>
                  <a:lnTo>
                    <a:pt x="619" y="1232"/>
                  </a:lnTo>
                  <a:lnTo>
                    <a:pt x="619" y="1226"/>
                  </a:lnTo>
                  <a:lnTo>
                    <a:pt x="619" y="1222"/>
                  </a:lnTo>
                  <a:lnTo>
                    <a:pt x="620" y="1220"/>
                  </a:lnTo>
                  <a:lnTo>
                    <a:pt x="623" y="1219"/>
                  </a:lnTo>
                  <a:lnTo>
                    <a:pt x="631" y="1217"/>
                  </a:lnTo>
                  <a:lnTo>
                    <a:pt x="637" y="1217"/>
                  </a:lnTo>
                  <a:lnTo>
                    <a:pt x="637" y="1217"/>
                  </a:lnTo>
                  <a:lnTo>
                    <a:pt x="646" y="1217"/>
                  </a:lnTo>
                  <a:lnTo>
                    <a:pt x="657" y="1217"/>
                  </a:lnTo>
                  <a:lnTo>
                    <a:pt x="657" y="1217"/>
                  </a:lnTo>
                  <a:lnTo>
                    <a:pt x="652" y="1211"/>
                  </a:lnTo>
                  <a:lnTo>
                    <a:pt x="649" y="1205"/>
                  </a:lnTo>
                  <a:lnTo>
                    <a:pt x="649" y="1199"/>
                  </a:lnTo>
                  <a:lnTo>
                    <a:pt x="651" y="1191"/>
                  </a:lnTo>
                  <a:lnTo>
                    <a:pt x="651" y="1191"/>
                  </a:lnTo>
                  <a:lnTo>
                    <a:pt x="657" y="1179"/>
                  </a:lnTo>
                  <a:lnTo>
                    <a:pt x="664" y="1167"/>
                  </a:lnTo>
                  <a:lnTo>
                    <a:pt x="670" y="1157"/>
                  </a:lnTo>
                  <a:lnTo>
                    <a:pt x="672" y="1151"/>
                  </a:lnTo>
                  <a:lnTo>
                    <a:pt x="673" y="1145"/>
                  </a:lnTo>
                  <a:lnTo>
                    <a:pt x="673" y="1145"/>
                  </a:lnTo>
                  <a:lnTo>
                    <a:pt x="675" y="1132"/>
                  </a:lnTo>
                  <a:lnTo>
                    <a:pt x="678" y="1122"/>
                  </a:lnTo>
                  <a:lnTo>
                    <a:pt x="684" y="1113"/>
                  </a:lnTo>
                  <a:lnTo>
                    <a:pt x="691" y="1107"/>
                  </a:lnTo>
                  <a:lnTo>
                    <a:pt x="691" y="1107"/>
                  </a:lnTo>
                  <a:lnTo>
                    <a:pt x="696" y="1099"/>
                  </a:lnTo>
                  <a:lnTo>
                    <a:pt x="699" y="1093"/>
                  </a:lnTo>
                  <a:lnTo>
                    <a:pt x="699" y="1086"/>
                  </a:lnTo>
                  <a:lnTo>
                    <a:pt x="697" y="1080"/>
                  </a:lnTo>
                  <a:lnTo>
                    <a:pt x="697" y="1080"/>
                  </a:lnTo>
                  <a:lnTo>
                    <a:pt x="696" y="1077"/>
                  </a:lnTo>
                  <a:lnTo>
                    <a:pt x="693" y="1075"/>
                  </a:lnTo>
                  <a:lnTo>
                    <a:pt x="688" y="1072"/>
                  </a:lnTo>
                  <a:lnTo>
                    <a:pt x="687" y="1068"/>
                  </a:lnTo>
                  <a:lnTo>
                    <a:pt x="687" y="1068"/>
                  </a:lnTo>
                  <a:lnTo>
                    <a:pt x="684" y="1058"/>
                  </a:lnTo>
                  <a:lnTo>
                    <a:pt x="682" y="1051"/>
                  </a:lnTo>
                  <a:lnTo>
                    <a:pt x="682" y="1048"/>
                  </a:lnTo>
                  <a:lnTo>
                    <a:pt x="685" y="1045"/>
                  </a:lnTo>
                  <a:lnTo>
                    <a:pt x="690" y="1040"/>
                  </a:lnTo>
                  <a:lnTo>
                    <a:pt x="696" y="1037"/>
                  </a:lnTo>
                  <a:lnTo>
                    <a:pt x="696" y="1037"/>
                  </a:lnTo>
                  <a:lnTo>
                    <a:pt x="702" y="1036"/>
                  </a:lnTo>
                  <a:lnTo>
                    <a:pt x="708" y="1034"/>
                  </a:lnTo>
                  <a:lnTo>
                    <a:pt x="720" y="1034"/>
                  </a:lnTo>
                  <a:lnTo>
                    <a:pt x="731" y="1034"/>
                  </a:lnTo>
                  <a:lnTo>
                    <a:pt x="743" y="1034"/>
                  </a:lnTo>
                  <a:lnTo>
                    <a:pt x="743" y="1034"/>
                  </a:lnTo>
                  <a:lnTo>
                    <a:pt x="752" y="1031"/>
                  </a:lnTo>
                  <a:lnTo>
                    <a:pt x="756" y="1030"/>
                  </a:lnTo>
                  <a:lnTo>
                    <a:pt x="761" y="1025"/>
                  </a:lnTo>
                  <a:lnTo>
                    <a:pt x="761" y="1025"/>
                  </a:lnTo>
                  <a:lnTo>
                    <a:pt x="767" y="1016"/>
                  </a:lnTo>
                  <a:lnTo>
                    <a:pt x="774" y="1010"/>
                  </a:lnTo>
                  <a:lnTo>
                    <a:pt x="774" y="1010"/>
                  </a:lnTo>
                  <a:lnTo>
                    <a:pt x="779" y="1006"/>
                  </a:lnTo>
                  <a:lnTo>
                    <a:pt x="782" y="1001"/>
                  </a:lnTo>
                  <a:lnTo>
                    <a:pt x="784" y="995"/>
                  </a:lnTo>
                  <a:lnTo>
                    <a:pt x="782" y="987"/>
                  </a:lnTo>
                  <a:lnTo>
                    <a:pt x="782" y="987"/>
                  </a:lnTo>
                  <a:lnTo>
                    <a:pt x="777" y="981"/>
                  </a:lnTo>
                  <a:lnTo>
                    <a:pt x="771" y="977"/>
                  </a:lnTo>
                  <a:lnTo>
                    <a:pt x="765" y="974"/>
                  </a:lnTo>
                  <a:lnTo>
                    <a:pt x="756" y="972"/>
                  </a:lnTo>
                  <a:lnTo>
                    <a:pt x="756" y="972"/>
                  </a:lnTo>
                  <a:lnTo>
                    <a:pt x="752" y="972"/>
                  </a:lnTo>
                  <a:lnTo>
                    <a:pt x="746" y="971"/>
                  </a:lnTo>
                  <a:lnTo>
                    <a:pt x="737" y="965"/>
                  </a:lnTo>
                  <a:lnTo>
                    <a:pt x="729" y="959"/>
                  </a:lnTo>
                  <a:lnTo>
                    <a:pt x="722" y="951"/>
                  </a:lnTo>
                  <a:lnTo>
                    <a:pt x="722" y="951"/>
                  </a:lnTo>
                  <a:lnTo>
                    <a:pt x="719" y="947"/>
                  </a:lnTo>
                  <a:lnTo>
                    <a:pt x="717" y="942"/>
                  </a:lnTo>
                  <a:lnTo>
                    <a:pt x="717" y="938"/>
                  </a:lnTo>
                  <a:lnTo>
                    <a:pt x="717" y="933"/>
                  </a:lnTo>
                  <a:lnTo>
                    <a:pt x="720" y="926"/>
                  </a:lnTo>
                  <a:lnTo>
                    <a:pt x="725" y="916"/>
                  </a:lnTo>
                  <a:lnTo>
                    <a:pt x="725" y="916"/>
                  </a:lnTo>
                  <a:lnTo>
                    <a:pt x="726" y="913"/>
                  </a:lnTo>
                  <a:lnTo>
                    <a:pt x="729" y="910"/>
                  </a:lnTo>
                  <a:lnTo>
                    <a:pt x="732" y="912"/>
                  </a:lnTo>
                  <a:lnTo>
                    <a:pt x="737" y="915"/>
                  </a:lnTo>
                  <a:lnTo>
                    <a:pt x="737" y="915"/>
                  </a:lnTo>
                  <a:lnTo>
                    <a:pt x="743" y="920"/>
                  </a:lnTo>
                  <a:lnTo>
                    <a:pt x="749" y="923"/>
                  </a:lnTo>
                  <a:lnTo>
                    <a:pt x="755" y="923"/>
                  </a:lnTo>
                  <a:lnTo>
                    <a:pt x="762" y="923"/>
                  </a:lnTo>
                  <a:lnTo>
                    <a:pt x="770" y="920"/>
                  </a:lnTo>
                  <a:lnTo>
                    <a:pt x="774" y="916"/>
                  </a:lnTo>
                  <a:lnTo>
                    <a:pt x="781" y="912"/>
                  </a:lnTo>
                  <a:lnTo>
                    <a:pt x="784" y="906"/>
                  </a:lnTo>
                  <a:lnTo>
                    <a:pt x="784" y="906"/>
                  </a:lnTo>
                  <a:lnTo>
                    <a:pt x="788" y="894"/>
                  </a:lnTo>
                  <a:lnTo>
                    <a:pt x="794" y="882"/>
                  </a:lnTo>
                  <a:lnTo>
                    <a:pt x="802" y="870"/>
                  </a:lnTo>
                  <a:lnTo>
                    <a:pt x="808" y="858"/>
                  </a:lnTo>
                  <a:lnTo>
                    <a:pt x="808" y="858"/>
                  </a:lnTo>
                  <a:lnTo>
                    <a:pt x="811" y="853"/>
                  </a:lnTo>
                  <a:lnTo>
                    <a:pt x="814" y="850"/>
                  </a:lnTo>
                  <a:lnTo>
                    <a:pt x="823" y="845"/>
                  </a:lnTo>
                  <a:lnTo>
                    <a:pt x="832" y="841"/>
                  </a:lnTo>
                  <a:lnTo>
                    <a:pt x="844" y="841"/>
                  </a:lnTo>
                  <a:lnTo>
                    <a:pt x="856" y="841"/>
                  </a:lnTo>
                  <a:lnTo>
                    <a:pt x="867" y="844"/>
                  </a:lnTo>
                  <a:lnTo>
                    <a:pt x="877" y="849"/>
                  </a:lnTo>
                  <a:lnTo>
                    <a:pt x="885" y="855"/>
                  </a:lnTo>
                  <a:lnTo>
                    <a:pt x="885" y="855"/>
                  </a:lnTo>
                  <a:lnTo>
                    <a:pt x="891" y="862"/>
                  </a:lnTo>
                  <a:lnTo>
                    <a:pt x="898" y="867"/>
                  </a:lnTo>
                  <a:lnTo>
                    <a:pt x="906" y="868"/>
                  </a:lnTo>
                  <a:lnTo>
                    <a:pt x="915" y="868"/>
                  </a:lnTo>
                  <a:lnTo>
                    <a:pt x="915" y="868"/>
                  </a:lnTo>
                  <a:lnTo>
                    <a:pt x="921" y="867"/>
                  </a:lnTo>
                  <a:lnTo>
                    <a:pt x="928" y="868"/>
                  </a:lnTo>
                  <a:lnTo>
                    <a:pt x="935" y="871"/>
                  </a:lnTo>
                  <a:lnTo>
                    <a:pt x="941" y="877"/>
                  </a:lnTo>
                  <a:lnTo>
                    <a:pt x="941" y="877"/>
                  </a:lnTo>
                  <a:lnTo>
                    <a:pt x="951" y="885"/>
                  </a:lnTo>
                  <a:lnTo>
                    <a:pt x="962" y="891"/>
                  </a:lnTo>
                  <a:lnTo>
                    <a:pt x="974" y="895"/>
                  </a:lnTo>
                  <a:lnTo>
                    <a:pt x="986" y="898"/>
                  </a:lnTo>
                  <a:lnTo>
                    <a:pt x="986" y="898"/>
                  </a:lnTo>
                  <a:lnTo>
                    <a:pt x="1001" y="901"/>
                  </a:lnTo>
                  <a:lnTo>
                    <a:pt x="1015" y="906"/>
                  </a:lnTo>
                  <a:lnTo>
                    <a:pt x="1028" y="913"/>
                  </a:lnTo>
                  <a:lnTo>
                    <a:pt x="1042" y="921"/>
                  </a:lnTo>
                  <a:lnTo>
                    <a:pt x="1042" y="921"/>
                  </a:lnTo>
                  <a:lnTo>
                    <a:pt x="1046" y="926"/>
                  </a:lnTo>
                  <a:lnTo>
                    <a:pt x="1049" y="929"/>
                  </a:lnTo>
                  <a:lnTo>
                    <a:pt x="1051" y="930"/>
                  </a:lnTo>
                  <a:lnTo>
                    <a:pt x="1051" y="930"/>
                  </a:lnTo>
                  <a:lnTo>
                    <a:pt x="1054" y="941"/>
                  </a:lnTo>
                  <a:lnTo>
                    <a:pt x="1060" y="948"/>
                  </a:lnTo>
                  <a:lnTo>
                    <a:pt x="1066" y="954"/>
                  </a:lnTo>
                  <a:lnTo>
                    <a:pt x="1073" y="959"/>
                  </a:lnTo>
                  <a:lnTo>
                    <a:pt x="1090" y="965"/>
                  </a:lnTo>
                  <a:lnTo>
                    <a:pt x="1107" y="972"/>
                  </a:lnTo>
                  <a:lnTo>
                    <a:pt x="1107" y="972"/>
                  </a:lnTo>
                  <a:lnTo>
                    <a:pt x="1123" y="980"/>
                  </a:lnTo>
                  <a:lnTo>
                    <a:pt x="1140" y="987"/>
                  </a:lnTo>
                  <a:lnTo>
                    <a:pt x="1156" y="997"/>
                  </a:lnTo>
                  <a:lnTo>
                    <a:pt x="1164" y="1003"/>
                  </a:lnTo>
                  <a:lnTo>
                    <a:pt x="1172" y="1009"/>
                  </a:lnTo>
                  <a:lnTo>
                    <a:pt x="1172" y="1009"/>
                  </a:lnTo>
                  <a:lnTo>
                    <a:pt x="1176" y="1013"/>
                  </a:lnTo>
                  <a:lnTo>
                    <a:pt x="1181" y="1015"/>
                  </a:lnTo>
                  <a:lnTo>
                    <a:pt x="1187" y="1013"/>
                  </a:lnTo>
                  <a:lnTo>
                    <a:pt x="1193" y="1009"/>
                  </a:lnTo>
                  <a:lnTo>
                    <a:pt x="1193" y="1009"/>
                  </a:lnTo>
                  <a:lnTo>
                    <a:pt x="1199" y="1006"/>
                  </a:lnTo>
                  <a:lnTo>
                    <a:pt x="1203" y="1001"/>
                  </a:lnTo>
                  <a:lnTo>
                    <a:pt x="1215" y="997"/>
                  </a:lnTo>
                  <a:lnTo>
                    <a:pt x="1229" y="995"/>
                  </a:lnTo>
                  <a:lnTo>
                    <a:pt x="1243" y="994"/>
                  </a:lnTo>
                  <a:lnTo>
                    <a:pt x="1243" y="994"/>
                  </a:lnTo>
                  <a:lnTo>
                    <a:pt x="1250" y="994"/>
                  </a:lnTo>
                  <a:lnTo>
                    <a:pt x="1253" y="992"/>
                  </a:lnTo>
                  <a:lnTo>
                    <a:pt x="1258" y="989"/>
                  </a:lnTo>
                  <a:lnTo>
                    <a:pt x="1258" y="989"/>
                  </a:lnTo>
                  <a:lnTo>
                    <a:pt x="1262" y="986"/>
                  </a:lnTo>
                  <a:lnTo>
                    <a:pt x="1262" y="986"/>
                  </a:lnTo>
                  <a:lnTo>
                    <a:pt x="1267" y="983"/>
                  </a:lnTo>
                  <a:lnTo>
                    <a:pt x="1271" y="981"/>
                  </a:lnTo>
                  <a:lnTo>
                    <a:pt x="1280" y="977"/>
                  </a:lnTo>
                  <a:lnTo>
                    <a:pt x="1285" y="974"/>
                  </a:lnTo>
                  <a:lnTo>
                    <a:pt x="1288" y="971"/>
                  </a:lnTo>
                  <a:lnTo>
                    <a:pt x="1291" y="966"/>
                  </a:lnTo>
                  <a:lnTo>
                    <a:pt x="1291" y="960"/>
                  </a:lnTo>
                  <a:lnTo>
                    <a:pt x="1291" y="960"/>
                  </a:lnTo>
                  <a:lnTo>
                    <a:pt x="1286" y="923"/>
                  </a:lnTo>
                  <a:lnTo>
                    <a:pt x="1286" y="923"/>
                  </a:lnTo>
                  <a:lnTo>
                    <a:pt x="1285" y="912"/>
                  </a:lnTo>
                  <a:lnTo>
                    <a:pt x="1282" y="909"/>
                  </a:lnTo>
                  <a:lnTo>
                    <a:pt x="1280" y="906"/>
                  </a:lnTo>
                  <a:lnTo>
                    <a:pt x="1273" y="903"/>
                  </a:lnTo>
                  <a:lnTo>
                    <a:pt x="1264" y="901"/>
                  </a:lnTo>
                  <a:lnTo>
                    <a:pt x="1264" y="901"/>
                  </a:lnTo>
                  <a:lnTo>
                    <a:pt x="1259" y="900"/>
                  </a:lnTo>
                  <a:lnTo>
                    <a:pt x="1256" y="898"/>
                  </a:lnTo>
                  <a:lnTo>
                    <a:pt x="1252" y="892"/>
                  </a:lnTo>
                  <a:lnTo>
                    <a:pt x="1249" y="885"/>
                  </a:lnTo>
                  <a:lnTo>
                    <a:pt x="1247" y="879"/>
                  </a:lnTo>
                  <a:lnTo>
                    <a:pt x="1247" y="879"/>
                  </a:lnTo>
                  <a:lnTo>
                    <a:pt x="1246" y="873"/>
                  </a:lnTo>
                  <a:lnTo>
                    <a:pt x="1243" y="867"/>
                  </a:lnTo>
                  <a:lnTo>
                    <a:pt x="1239" y="864"/>
                  </a:lnTo>
                  <a:lnTo>
                    <a:pt x="1235" y="861"/>
                  </a:lnTo>
                  <a:lnTo>
                    <a:pt x="1224" y="858"/>
                  </a:lnTo>
                  <a:lnTo>
                    <a:pt x="1215" y="856"/>
                  </a:lnTo>
                  <a:lnTo>
                    <a:pt x="1215" y="856"/>
                  </a:lnTo>
                  <a:lnTo>
                    <a:pt x="1206" y="855"/>
                  </a:lnTo>
                  <a:lnTo>
                    <a:pt x="1197" y="855"/>
                  </a:lnTo>
                  <a:lnTo>
                    <a:pt x="1187" y="856"/>
                  </a:lnTo>
                  <a:lnTo>
                    <a:pt x="1178" y="858"/>
                  </a:lnTo>
                  <a:lnTo>
                    <a:pt x="1178" y="858"/>
                  </a:lnTo>
                  <a:lnTo>
                    <a:pt x="1173" y="859"/>
                  </a:lnTo>
                  <a:lnTo>
                    <a:pt x="1170" y="858"/>
                  </a:lnTo>
                  <a:lnTo>
                    <a:pt x="1161" y="855"/>
                  </a:lnTo>
                  <a:lnTo>
                    <a:pt x="1153" y="850"/>
                  </a:lnTo>
                  <a:lnTo>
                    <a:pt x="1149" y="849"/>
                  </a:lnTo>
                  <a:lnTo>
                    <a:pt x="1144" y="849"/>
                  </a:lnTo>
                  <a:lnTo>
                    <a:pt x="1144" y="849"/>
                  </a:lnTo>
                  <a:lnTo>
                    <a:pt x="1143" y="847"/>
                  </a:lnTo>
                  <a:lnTo>
                    <a:pt x="1143" y="845"/>
                  </a:lnTo>
                  <a:lnTo>
                    <a:pt x="1143" y="839"/>
                  </a:lnTo>
                  <a:lnTo>
                    <a:pt x="1143" y="839"/>
                  </a:lnTo>
                  <a:lnTo>
                    <a:pt x="1147" y="827"/>
                  </a:lnTo>
                  <a:lnTo>
                    <a:pt x="1150" y="815"/>
                  </a:lnTo>
                  <a:lnTo>
                    <a:pt x="1155" y="791"/>
                  </a:lnTo>
                  <a:lnTo>
                    <a:pt x="1155" y="791"/>
                  </a:lnTo>
                  <a:lnTo>
                    <a:pt x="1156" y="779"/>
                  </a:lnTo>
                  <a:lnTo>
                    <a:pt x="1158" y="775"/>
                  </a:lnTo>
                  <a:lnTo>
                    <a:pt x="1161" y="768"/>
                  </a:lnTo>
                  <a:lnTo>
                    <a:pt x="1161" y="768"/>
                  </a:lnTo>
                  <a:lnTo>
                    <a:pt x="1166" y="762"/>
                  </a:lnTo>
                  <a:lnTo>
                    <a:pt x="1167" y="756"/>
                  </a:lnTo>
                  <a:lnTo>
                    <a:pt x="1169" y="750"/>
                  </a:lnTo>
                  <a:lnTo>
                    <a:pt x="1169" y="743"/>
                  </a:lnTo>
                  <a:lnTo>
                    <a:pt x="1169" y="743"/>
                  </a:lnTo>
                  <a:lnTo>
                    <a:pt x="1167" y="738"/>
                  </a:lnTo>
                  <a:lnTo>
                    <a:pt x="1169" y="734"/>
                  </a:lnTo>
                  <a:lnTo>
                    <a:pt x="1170" y="731"/>
                  </a:lnTo>
                  <a:lnTo>
                    <a:pt x="1172" y="728"/>
                  </a:lnTo>
                  <a:lnTo>
                    <a:pt x="1175" y="725"/>
                  </a:lnTo>
                  <a:lnTo>
                    <a:pt x="1179" y="725"/>
                  </a:lnTo>
                  <a:lnTo>
                    <a:pt x="1184" y="723"/>
                  </a:lnTo>
                  <a:lnTo>
                    <a:pt x="1188" y="725"/>
                  </a:lnTo>
                  <a:lnTo>
                    <a:pt x="1188" y="725"/>
                  </a:lnTo>
                  <a:lnTo>
                    <a:pt x="1205" y="729"/>
                  </a:lnTo>
                  <a:lnTo>
                    <a:pt x="1205" y="729"/>
                  </a:lnTo>
                  <a:lnTo>
                    <a:pt x="1215" y="731"/>
                  </a:lnTo>
                  <a:lnTo>
                    <a:pt x="1220" y="729"/>
                  </a:lnTo>
                  <a:lnTo>
                    <a:pt x="1226" y="726"/>
                  </a:lnTo>
                  <a:lnTo>
                    <a:pt x="1226" y="726"/>
                  </a:lnTo>
                  <a:lnTo>
                    <a:pt x="1229" y="723"/>
                  </a:lnTo>
                  <a:lnTo>
                    <a:pt x="1235" y="722"/>
                  </a:lnTo>
                  <a:lnTo>
                    <a:pt x="1239" y="723"/>
                  </a:lnTo>
                  <a:lnTo>
                    <a:pt x="1244" y="725"/>
                  </a:lnTo>
                  <a:lnTo>
                    <a:pt x="1250" y="728"/>
                  </a:lnTo>
                  <a:lnTo>
                    <a:pt x="1253" y="732"/>
                  </a:lnTo>
                  <a:lnTo>
                    <a:pt x="1256" y="737"/>
                  </a:lnTo>
                  <a:lnTo>
                    <a:pt x="1256" y="741"/>
                  </a:lnTo>
                  <a:lnTo>
                    <a:pt x="1256" y="741"/>
                  </a:lnTo>
                  <a:lnTo>
                    <a:pt x="1256" y="749"/>
                  </a:lnTo>
                  <a:lnTo>
                    <a:pt x="1258" y="758"/>
                  </a:lnTo>
                  <a:lnTo>
                    <a:pt x="1261" y="764"/>
                  </a:lnTo>
                  <a:lnTo>
                    <a:pt x="1262" y="767"/>
                  </a:lnTo>
                  <a:lnTo>
                    <a:pt x="1262" y="767"/>
                  </a:lnTo>
                  <a:lnTo>
                    <a:pt x="1273" y="775"/>
                  </a:lnTo>
                  <a:lnTo>
                    <a:pt x="1280" y="781"/>
                  </a:lnTo>
                  <a:lnTo>
                    <a:pt x="1289" y="790"/>
                  </a:lnTo>
                  <a:lnTo>
                    <a:pt x="1297" y="796"/>
                  </a:lnTo>
                  <a:lnTo>
                    <a:pt x="1297" y="796"/>
                  </a:lnTo>
                  <a:lnTo>
                    <a:pt x="1301" y="797"/>
                  </a:lnTo>
                  <a:lnTo>
                    <a:pt x="1307" y="799"/>
                  </a:lnTo>
                  <a:lnTo>
                    <a:pt x="1313" y="797"/>
                  </a:lnTo>
                  <a:lnTo>
                    <a:pt x="1318" y="794"/>
                  </a:lnTo>
                  <a:lnTo>
                    <a:pt x="1324" y="791"/>
                  </a:lnTo>
                  <a:lnTo>
                    <a:pt x="1327" y="788"/>
                  </a:lnTo>
                  <a:lnTo>
                    <a:pt x="1330" y="785"/>
                  </a:lnTo>
                  <a:lnTo>
                    <a:pt x="1330" y="781"/>
                  </a:lnTo>
                  <a:lnTo>
                    <a:pt x="1330" y="781"/>
                  </a:lnTo>
                  <a:lnTo>
                    <a:pt x="1327" y="775"/>
                  </a:lnTo>
                  <a:lnTo>
                    <a:pt x="1327" y="765"/>
                  </a:lnTo>
                  <a:lnTo>
                    <a:pt x="1324" y="759"/>
                  </a:lnTo>
                  <a:lnTo>
                    <a:pt x="1323" y="755"/>
                  </a:lnTo>
                  <a:lnTo>
                    <a:pt x="1320" y="752"/>
                  </a:lnTo>
                  <a:lnTo>
                    <a:pt x="1320" y="752"/>
                  </a:lnTo>
                  <a:lnTo>
                    <a:pt x="1315" y="747"/>
                  </a:lnTo>
                  <a:lnTo>
                    <a:pt x="1312" y="741"/>
                  </a:lnTo>
                  <a:lnTo>
                    <a:pt x="1312" y="737"/>
                  </a:lnTo>
                  <a:lnTo>
                    <a:pt x="1312" y="731"/>
                  </a:lnTo>
                  <a:lnTo>
                    <a:pt x="1313" y="719"/>
                  </a:lnTo>
                  <a:lnTo>
                    <a:pt x="1316" y="708"/>
                  </a:lnTo>
                  <a:lnTo>
                    <a:pt x="1316" y="708"/>
                  </a:lnTo>
                  <a:lnTo>
                    <a:pt x="1320" y="697"/>
                  </a:lnTo>
                  <a:lnTo>
                    <a:pt x="1320" y="693"/>
                  </a:lnTo>
                  <a:lnTo>
                    <a:pt x="1318" y="687"/>
                  </a:lnTo>
                  <a:lnTo>
                    <a:pt x="1318" y="687"/>
                  </a:lnTo>
                  <a:lnTo>
                    <a:pt x="1315" y="670"/>
                  </a:lnTo>
                  <a:lnTo>
                    <a:pt x="1315" y="664"/>
                  </a:lnTo>
                  <a:lnTo>
                    <a:pt x="1316" y="658"/>
                  </a:lnTo>
                  <a:lnTo>
                    <a:pt x="1320" y="655"/>
                  </a:lnTo>
                  <a:lnTo>
                    <a:pt x="1326" y="651"/>
                  </a:lnTo>
                  <a:lnTo>
                    <a:pt x="1341" y="642"/>
                  </a:lnTo>
                  <a:lnTo>
                    <a:pt x="1341" y="642"/>
                  </a:lnTo>
                  <a:lnTo>
                    <a:pt x="1351" y="636"/>
                  </a:lnTo>
                  <a:lnTo>
                    <a:pt x="1356" y="633"/>
                  </a:lnTo>
                  <a:lnTo>
                    <a:pt x="1362" y="628"/>
                  </a:lnTo>
                  <a:lnTo>
                    <a:pt x="1362" y="628"/>
                  </a:lnTo>
                  <a:lnTo>
                    <a:pt x="1369" y="622"/>
                  </a:lnTo>
                  <a:lnTo>
                    <a:pt x="1374" y="619"/>
                  </a:lnTo>
                  <a:lnTo>
                    <a:pt x="1378" y="619"/>
                  </a:lnTo>
                  <a:lnTo>
                    <a:pt x="1383" y="619"/>
                  </a:lnTo>
                  <a:lnTo>
                    <a:pt x="1387" y="620"/>
                  </a:lnTo>
                  <a:lnTo>
                    <a:pt x="1397" y="625"/>
                  </a:lnTo>
                  <a:lnTo>
                    <a:pt x="1397" y="625"/>
                  </a:lnTo>
                  <a:lnTo>
                    <a:pt x="1401" y="628"/>
                  </a:lnTo>
                  <a:lnTo>
                    <a:pt x="1403" y="630"/>
                  </a:lnTo>
                  <a:lnTo>
                    <a:pt x="1406" y="630"/>
                  </a:lnTo>
                  <a:lnTo>
                    <a:pt x="1406" y="630"/>
                  </a:lnTo>
                  <a:lnTo>
                    <a:pt x="1406" y="614"/>
                  </a:lnTo>
                  <a:lnTo>
                    <a:pt x="1403" y="601"/>
                  </a:lnTo>
                  <a:lnTo>
                    <a:pt x="1395" y="575"/>
                  </a:lnTo>
                  <a:lnTo>
                    <a:pt x="1395" y="575"/>
                  </a:lnTo>
                  <a:lnTo>
                    <a:pt x="1390" y="563"/>
                  </a:lnTo>
                  <a:lnTo>
                    <a:pt x="1390" y="559"/>
                  </a:lnTo>
                  <a:lnTo>
                    <a:pt x="1392" y="554"/>
                  </a:lnTo>
                  <a:lnTo>
                    <a:pt x="1393" y="552"/>
                  </a:lnTo>
                  <a:lnTo>
                    <a:pt x="1398" y="549"/>
                  </a:lnTo>
                  <a:lnTo>
                    <a:pt x="1410" y="546"/>
                  </a:lnTo>
                  <a:lnTo>
                    <a:pt x="1410" y="546"/>
                  </a:lnTo>
                  <a:lnTo>
                    <a:pt x="1418" y="545"/>
                  </a:lnTo>
                  <a:lnTo>
                    <a:pt x="1421" y="542"/>
                  </a:lnTo>
                  <a:lnTo>
                    <a:pt x="1421" y="537"/>
                  </a:lnTo>
                  <a:lnTo>
                    <a:pt x="1418" y="531"/>
                  </a:lnTo>
                  <a:lnTo>
                    <a:pt x="1418" y="531"/>
                  </a:lnTo>
                  <a:lnTo>
                    <a:pt x="1416" y="527"/>
                  </a:lnTo>
                  <a:lnTo>
                    <a:pt x="1415" y="521"/>
                  </a:lnTo>
                  <a:lnTo>
                    <a:pt x="1416" y="515"/>
                  </a:lnTo>
                  <a:lnTo>
                    <a:pt x="1418" y="509"/>
                  </a:lnTo>
                  <a:lnTo>
                    <a:pt x="1424" y="500"/>
                  </a:lnTo>
                  <a:lnTo>
                    <a:pt x="1431" y="491"/>
                  </a:lnTo>
                  <a:lnTo>
                    <a:pt x="1431" y="491"/>
                  </a:lnTo>
                  <a:lnTo>
                    <a:pt x="1434" y="488"/>
                  </a:lnTo>
                  <a:lnTo>
                    <a:pt x="1437" y="483"/>
                  </a:lnTo>
                  <a:lnTo>
                    <a:pt x="1440" y="477"/>
                  </a:lnTo>
                  <a:lnTo>
                    <a:pt x="1445" y="469"/>
                  </a:lnTo>
                  <a:lnTo>
                    <a:pt x="1448" y="466"/>
                  </a:lnTo>
                  <a:lnTo>
                    <a:pt x="1454" y="463"/>
                  </a:lnTo>
                  <a:lnTo>
                    <a:pt x="1454" y="463"/>
                  </a:lnTo>
                  <a:lnTo>
                    <a:pt x="1455" y="462"/>
                  </a:lnTo>
                  <a:lnTo>
                    <a:pt x="1457" y="459"/>
                  </a:lnTo>
                  <a:lnTo>
                    <a:pt x="1457" y="450"/>
                  </a:lnTo>
                  <a:lnTo>
                    <a:pt x="1455" y="439"/>
                  </a:lnTo>
                  <a:lnTo>
                    <a:pt x="1454" y="429"/>
                  </a:lnTo>
                  <a:lnTo>
                    <a:pt x="1454" y="429"/>
                  </a:lnTo>
                  <a:lnTo>
                    <a:pt x="1449" y="410"/>
                  </a:lnTo>
                  <a:lnTo>
                    <a:pt x="1449" y="410"/>
                  </a:lnTo>
                  <a:lnTo>
                    <a:pt x="1446" y="398"/>
                  </a:lnTo>
                  <a:lnTo>
                    <a:pt x="1443" y="385"/>
                  </a:lnTo>
                  <a:lnTo>
                    <a:pt x="1442" y="379"/>
                  </a:lnTo>
                  <a:lnTo>
                    <a:pt x="1442" y="373"/>
                  </a:lnTo>
                  <a:lnTo>
                    <a:pt x="1442" y="367"/>
                  </a:lnTo>
                  <a:lnTo>
                    <a:pt x="1445" y="359"/>
                  </a:lnTo>
                  <a:lnTo>
                    <a:pt x="1445" y="359"/>
                  </a:lnTo>
                  <a:lnTo>
                    <a:pt x="1443" y="356"/>
                  </a:lnTo>
                  <a:lnTo>
                    <a:pt x="1442" y="352"/>
                  </a:lnTo>
                  <a:lnTo>
                    <a:pt x="1442" y="352"/>
                  </a:lnTo>
                  <a:lnTo>
                    <a:pt x="1439" y="347"/>
                  </a:lnTo>
                  <a:lnTo>
                    <a:pt x="1436" y="341"/>
                  </a:lnTo>
                  <a:lnTo>
                    <a:pt x="1434" y="336"/>
                  </a:lnTo>
                  <a:lnTo>
                    <a:pt x="1433" y="335"/>
                  </a:lnTo>
                  <a:lnTo>
                    <a:pt x="1434" y="333"/>
                  </a:lnTo>
                  <a:lnTo>
                    <a:pt x="1434" y="333"/>
                  </a:lnTo>
                  <a:lnTo>
                    <a:pt x="1440" y="329"/>
                  </a:lnTo>
                  <a:lnTo>
                    <a:pt x="1446" y="326"/>
                  </a:lnTo>
                  <a:lnTo>
                    <a:pt x="1454" y="323"/>
                  </a:lnTo>
                  <a:lnTo>
                    <a:pt x="1461" y="323"/>
                  </a:lnTo>
                  <a:lnTo>
                    <a:pt x="1461" y="323"/>
                  </a:lnTo>
                  <a:lnTo>
                    <a:pt x="1510" y="324"/>
                  </a:lnTo>
                  <a:lnTo>
                    <a:pt x="1510" y="324"/>
                  </a:lnTo>
                  <a:lnTo>
                    <a:pt x="1514" y="324"/>
                  </a:lnTo>
                  <a:lnTo>
                    <a:pt x="1514" y="324"/>
                  </a:lnTo>
                  <a:lnTo>
                    <a:pt x="1519" y="324"/>
                  </a:lnTo>
                  <a:lnTo>
                    <a:pt x="1523" y="323"/>
                  </a:lnTo>
                  <a:lnTo>
                    <a:pt x="1526" y="320"/>
                  </a:lnTo>
                  <a:lnTo>
                    <a:pt x="1528" y="315"/>
                  </a:lnTo>
                  <a:lnTo>
                    <a:pt x="1528" y="315"/>
                  </a:lnTo>
                  <a:lnTo>
                    <a:pt x="1529" y="309"/>
                  </a:lnTo>
                  <a:lnTo>
                    <a:pt x="1531" y="303"/>
                  </a:lnTo>
                  <a:lnTo>
                    <a:pt x="1540" y="294"/>
                  </a:lnTo>
                  <a:lnTo>
                    <a:pt x="1543" y="288"/>
                  </a:lnTo>
                  <a:lnTo>
                    <a:pt x="1544" y="284"/>
                  </a:lnTo>
                  <a:lnTo>
                    <a:pt x="1546" y="278"/>
                  </a:lnTo>
                  <a:lnTo>
                    <a:pt x="1543" y="272"/>
                  </a:lnTo>
                  <a:lnTo>
                    <a:pt x="1543" y="272"/>
                  </a:lnTo>
                  <a:lnTo>
                    <a:pt x="1537" y="261"/>
                  </a:lnTo>
                  <a:lnTo>
                    <a:pt x="1532" y="250"/>
                  </a:lnTo>
                  <a:lnTo>
                    <a:pt x="1532" y="240"/>
                  </a:lnTo>
                  <a:lnTo>
                    <a:pt x="1534" y="228"/>
                  </a:lnTo>
                  <a:lnTo>
                    <a:pt x="1534" y="228"/>
                  </a:lnTo>
                  <a:lnTo>
                    <a:pt x="1538" y="208"/>
                  </a:lnTo>
                  <a:lnTo>
                    <a:pt x="1541" y="188"/>
                  </a:lnTo>
                  <a:lnTo>
                    <a:pt x="1547" y="169"/>
                  </a:lnTo>
                  <a:lnTo>
                    <a:pt x="1552" y="160"/>
                  </a:lnTo>
                  <a:lnTo>
                    <a:pt x="1557" y="151"/>
                  </a:lnTo>
                  <a:lnTo>
                    <a:pt x="1557" y="151"/>
                  </a:lnTo>
                  <a:lnTo>
                    <a:pt x="1558" y="145"/>
                  </a:lnTo>
                  <a:lnTo>
                    <a:pt x="1560" y="137"/>
                  </a:lnTo>
                  <a:lnTo>
                    <a:pt x="1558" y="124"/>
                  </a:lnTo>
                  <a:lnTo>
                    <a:pt x="1558" y="124"/>
                  </a:lnTo>
                  <a:lnTo>
                    <a:pt x="1560" y="111"/>
                  </a:lnTo>
                  <a:lnTo>
                    <a:pt x="1561" y="107"/>
                  </a:lnTo>
                  <a:lnTo>
                    <a:pt x="1566" y="102"/>
                  </a:lnTo>
                  <a:lnTo>
                    <a:pt x="1566" y="102"/>
                  </a:lnTo>
                  <a:lnTo>
                    <a:pt x="1570" y="96"/>
                  </a:lnTo>
                  <a:lnTo>
                    <a:pt x="1576" y="93"/>
                  </a:lnTo>
                  <a:lnTo>
                    <a:pt x="1584" y="92"/>
                  </a:lnTo>
                  <a:lnTo>
                    <a:pt x="1590" y="90"/>
                  </a:lnTo>
                  <a:lnTo>
                    <a:pt x="1590" y="90"/>
                  </a:lnTo>
                  <a:lnTo>
                    <a:pt x="1597" y="90"/>
                  </a:lnTo>
                  <a:lnTo>
                    <a:pt x="1603" y="87"/>
                  </a:lnTo>
                  <a:lnTo>
                    <a:pt x="1606" y="83"/>
                  </a:lnTo>
                  <a:lnTo>
                    <a:pt x="1609" y="77"/>
                  </a:lnTo>
                  <a:lnTo>
                    <a:pt x="1609" y="77"/>
                  </a:lnTo>
                  <a:lnTo>
                    <a:pt x="1615" y="65"/>
                  </a:lnTo>
                  <a:lnTo>
                    <a:pt x="1618" y="60"/>
                  </a:lnTo>
                  <a:lnTo>
                    <a:pt x="1623" y="57"/>
                  </a:lnTo>
                  <a:lnTo>
                    <a:pt x="1628" y="56"/>
                  </a:lnTo>
                  <a:lnTo>
                    <a:pt x="1632" y="54"/>
                  </a:lnTo>
                  <a:lnTo>
                    <a:pt x="1647" y="56"/>
                  </a:lnTo>
                  <a:lnTo>
                    <a:pt x="1647" y="56"/>
                  </a:lnTo>
                  <a:lnTo>
                    <a:pt x="1652" y="56"/>
                  </a:lnTo>
                  <a:lnTo>
                    <a:pt x="1655" y="54"/>
                  </a:lnTo>
                  <a:lnTo>
                    <a:pt x="1661" y="48"/>
                  </a:lnTo>
                  <a:lnTo>
                    <a:pt x="1661" y="48"/>
                  </a:lnTo>
                  <a:lnTo>
                    <a:pt x="1665" y="43"/>
                  </a:lnTo>
                  <a:lnTo>
                    <a:pt x="1670" y="40"/>
                  </a:lnTo>
                  <a:lnTo>
                    <a:pt x="1674" y="37"/>
                  </a:lnTo>
                  <a:lnTo>
                    <a:pt x="1680" y="36"/>
                  </a:lnTo>
                  <a:lnTo>
                    <a:pt x="1685" y="36"/>
                  </a:lnTo>
                  <a:lnTo>
                    <a:pt x="1691" y="36"/>
                  </a:lnTo>
                  <a:lnTo>
                    <a:pt x="1703" y="40"/>
                  </a:lnTo>
                  <a:lnTo>
                    <a:pt x="1703" y="40"/>
                  </a:lnTo>
                  <a:lnTo>
                    <a:pt x="1708" y="42"/>
                  </a:lnTo>
                  <a:lnTo>
                    <a:pt x="1712" y="40"/>
                  </a:lnTo>
                  <a:lnTo>
                    <a:pt x="1714" y="37"/>
                  </a:lnTo>
                  <a:lnTo>
                    <a:pt x="1714" y="33"/>
                  </a:lnTo>
                  <a:lnTo>
                    <a:pt x="1714" y="33"/>
                  </a:lnTo>
                  <a:lnTo>
                    <a:pt x="1715" y="0"/>
                  </a:lnTo>
                  <a:lnTo>
                    <a:pt x="1715" y="0"/>
                  </a:lnTo>
                  <a:lnTo>
                    <a:pt x="1721" y="1"/>
                  </a:lnTo>
                  <a:lnTo>
                    <a:pt x="1727" y="4"/>
                  </a:lnTo>
                  <a:lnTo>
                    <a:pt x="1738" y="12"/>
                  </a:lnTo>
                  <a:lnTo>
                    <a:pt x="1747" y="21"/>
                  </a:lnTo>
                  <a:lnTo>
                    <a:pt x="1754" y="30"/>
                  </a:lnTo>
                  <a:lnTo>
                    <a:pt x="1754" y="30"/>
                  </a:lnTo>
                  <a:lnTo>
                    <a:pt x="1769" y="50"/>
                  </a:lnTo>
                  <a:lnTo>
                    <a:pt x="1788" y="66"/>
                  </a:lnTo>
                  <a:lnTo>
                    <a:pt x="1807" y="80"/>
                  </a:lnTo>
                  <a:lnTo>
                    <a:pt x="1828" y="92"/>
                  </a:lnTo>
                  <a:lnTo>
                    <a:pt x="1828" y="92"/>
                  </a:lnTo>
                  <a:lnTo>
                    <a:pt x="1848" y="107"/>
                  </a:lnTo>
                  <a:lnTo>
                    <a:pt x="1866" y="122"/>
                  </a:lnTo>
                  <a:lnTo>
                    <a:pt x="1883" y="139"/>
                  </a:lnTo>
                  <a:lnTo>
                    <a:pt x="1896" y="157"/>
                  </a:lnTo>
                  <a:lnTo>
                    <a:pt x="1908" y="176"/>
                  </a:lnTo>
                  <a:lnTo>
                    <a:pt x="1919" y="198"/>
                  </a:lnTo>
                  <a:lnTo>
                    <a:pt x="1928" y="220"/>
                  </a:lnTo>
                  <a:lnTo>
                    <a:pt x="1934" y="244"/>
                  </a:lnTo>
                  <a:lnTo>
                    <a:pt x="1934" y="244"/>
                  </a:lnTo>
                  <a:lnTo>
                    <a:pt x="1940" y="265"/>
                  </a:lnTo>
                  <a:lnTo>
                    <a:pt x="1946" y="285"/>
                  </a:lnTo>
                  <a:lnTo>
                    <a:pt x="1955" y="306"/>
                  </a:lnTo>
                  <a:lnTo>
                    <a:pt x="1960" y="315"/>
                  </a:lnTo>
                  <a:lnTo>
                    <a:pt x="1967" y="326"/>
                  </a:lnTo>
                  <a:lnTo>
                    <a:pt x="1967" y="326"/>
                  </a:lnTo>
                  <a:lnTo>
                    <a:pt x="1975" y="336"/>
                  </a:lnTo>
                  <a:lnTo>
                    <a:pt x="1985" y="344"/>
                  </a:lnTo>
                  <a:lnTo>
                    <a:pt x="2006" y="361"/>
                  </a:lnTo>
                  <a:lnTo>
                    <a:pt x="2006" y="361"/>
                  </a:lnTo>
                  <a:lnTo>
                    <a:pt x="2023" y="371"/>
                  </a:lnTo>
                  <a:lnTo>
                    <a:pt x="2043" y="380"/>
                  </a:lnTo>
                  <a:lnTo>
                    <a:pt x="2062" y="386"/>
                  </a:lnTo>
                  <a:lnTo>
                    <a:pt x="2082" y="391"/>
                  </a:lnTo>
                  <a:lnTo>
                    <a:pt x="2082" y="391"/>
                  </a:lnTo>
                  <a:lnTo>
                    <a:pt x="2091" y="392"/>
                  </a:lnTo>
                  <a:lnTo>
                    <a:pt x="2100" y="394"/>
                  </a:lnTo>
                  <a:lnTo>
                    <a:pt x="2108" y="397"/>
                  </a:lnTo>
                  <a:lnTo>
                    <a:pt x="2115" y="401"/>
                  </a:lnTo>
                  <a:lnTo>
                    <a:pt x="2121" y="406"/>
                  </a:lnTo>
                  <a:lnTo>
                    <a:pt x="2127" y="412"/>
                  </a:lnTo>
                  <a:lnTo>
                    <a:pt x="2132" y="420"/>
                  </a:lnTo>
                  <a:lnTo>
                    <a:pt x="2136" y="427"/>
                  </a:lnTo>
                  <a:lnTo>
                    <a:pt x="2136" y="427"/>
                  </a:lnTo>
                  <a:lnTo>
                    <a:pt x="2145" y="447"/>
                  </a:lnTo>
                  <a:lnTo>
                    <a:pt x="2156" y="463"/>
                  </a:lnTo>
                  <a:lnTo>
                    <a:pt x="2160" y="472"/>
                  </a:lnTo>
                  <a:lnTo>
                    <a:pt x="2168" y="480"/>
                  </a:lnTo>
                  <a:lnTo>
                    <a:pt x="2176" y="488"/>
                  </a:lnTo>
                  <a:lnTo>
                    <a:pt x="2185" y="494"/>
                  </a:lnTo>
                  <a:lnTo>
                    <a:pt x="2185" y="494"/>
                  </a:lnTo>
                  <a:lnTo>
                    <a:pt x="2204" y="506"/>
                  </a:lnTo>
                  <a:lnTo>
                    <a:pt x="2224" y="518"/>
                  </a:lnTo>
                  <a:lnTo>
                    <a:pt x="2224" y="518"/>
                  </a:lnTo>
                  <a:lnTo>
                    <a:pt x="2242" y="531"/>
                  </a:lnTo>
                  <a:lnTo>
                    <a:pt x="2260" y="545"/>
                  </a:lnTo>
                  <a:lnTo>
                    <a:pt x="2269" y="552"/>
                  </a:lnTo>
                  <a:lnTo>
                    <a:pt x="2277" y="562"/>
                  </a:lnTo>
                  <a:lnTo>
                    <a:pt x="2284" y="571"/>
                  </a:lnTo>
                  <a:lnTo>
                    <a:pt x="2289" y="581"/>
                  </a:lnTo>
                  <a:lnTo>
                    <a:pt x="2289" y="581"/>
                  </a:lnTo>
                  <a:lnTo>
                    <a:pt x="2299" y="602"/>
                  </a:lnTo>
                  <a:lnTo>
                    <a:pt x="2310" y="623"/>
                  </a:lnTo>
                  <a:lnTo>
                    <a:pt x="2324" y="642"/>
                  </a:lnTo>
                  <a:lnTo>
                    <a:pt x="2339" y="658"/>
                  </a:lnTo>
                  <a:lnTo>
                    <a:pt x="2339" y="658"/>
                  </a:lnTo>
                  <a:lnTo>
                    <a:pt x="2346" y="667"/>
                  </a:lnTo>
                  <a:lnTo>
                    <a:pt x="2352" y="676"/>
                  </a:lnTo>
                  <a:lnTo>
                    <a:pt x="2363" y="696"/>
                  </a:lnTo>
                  <a:lnTo>
                    <a:pt x="2367" y="705"/>
                  </a:lnTo>
                  <a:lnTo>
                    <a:pt x="2373" y="714"/>
                  </a:lnTo>
                  <a:lnTo>
                    <a:pt x="2381" y="723"/>
                  </a:lnTo>
                  <a:lnTo>
                    <a:pt x="2390" y="729"/>
                  </a:lnTo>
                  <a:lnTo>
                    <a:pt x="2390" y="729"/>
                  </a:lnTo>
                  <a:lnTo>
                    <a:pt x="2391" y="734"/>
                  </a:lnTo>
                  <a:lnTo>
                    <a:pt x="2393" y="738"/>
                  </a:lnTo>
                  <a:lnTo>
                    <a:pt x="2393" y="738"/>
                  </a:lnTo>
                  <a:lnTo>
                    <a:pt x="2425" y="811"/>
                  </a:lnTo>
                  <a:lnTo>
                    <a:pt x="2425" y="811"/>
                  </a:lnTo>
                  <a:lnTo>
                    <a:pt x="2429" y="817"/>
                  </a:lnTo>
                  <a:lnTo>
                    <a:pt x="2434" y="823"/>
                  </a:lnTo>
                  <a:lnTo>
                    <a:pt x="2440" y="827"/>
                  </a:lnTo>
                  <a:lnTo>
                    <a:pt x="2441" y="830"/>
                  </a:lnTo>
                  <a:lnTo>
                    <a:pt x="2443" y="835"/>
                  </a:lnTo>
                  <a:lnTo>
                    <a:pt x="2443" y="835"/>
                  </a:lnTo>
                  <a:lnTo>
                    <a:pt x="2444" y="844"/>
                  </a:lnTo>
                  <a:lnTo>
                    <a:pt x="2449" y="853"/>
                  </a:lnTo>
                  <a:lnTo>
                    <a:pt x="2453" y="861"/>
                  </a:lnTo>
                  <a:lnTo>
                    <a:pt x="2459" y="868"/>
                  </a:lnTo>
                  <a:lnTo>
                    <a:pt x="2467" y="874"/>
                  </a:lnTo>
                  <a:lnTo>
                    <a:pt x="2475" y="880"/>
                  </a:lnTo>
                  <a:lnTo>
                    <a:pt x="2491" y="891"/>
                  </a:lnTo>
                  <a:lnTo>
                    <a:pt x="2491" y="891"/>
                  </a:lnTo>
                  <a:lnTo>
                    <a:pt x="2514" y="904"/>
                  </a:lnTo>
                  <a:lnTo>
                    <a:pt x="2536" y="920"/>
                  </a:lnTo>
                  <a:lnTo>
                    <a:pt x="2545" y="927"/>
                  </a:lnTo>
                  <a:lnTo>
                    <a:pt x="2556" y="938"/>
                  </a:lnTo>
                  <a:lnTo>
                    <a:pt x="2564" y="948"/>
                  </a:lnTo>
                  <a:lnTo>
                    <a:pt x="2571" y="959"/>
                  </a:lnTo>
                  <a:lnTo>
                    <a:pt x="2571" y="959"/>
                  </a:lnTo>
                  <a:lnTo>
                    <a:pt x="2576" y="966"/>
                  </a:lnTo>
                  <a:lnTo>
                    <a:pt x="2582" y="974"/>
                  </a:lnTo>
                  <a:lnTo>
                    <a:pt x="2595" y="984"/>
                  </a:lnTo>
                  <a:lnTo>
                    <a:pt x="2609" y="994"/>
                  </a:lnTo>
                  <a:lnTo>
                    <a:pt x="2624" y="1003"/>
                  </a:lnTo>
                  <a:lnTo>
                    <a:pt x="2624" y="1003"/>
                  </a:lnTo>
                  <a:lnTo>
                    <a:pt x="2636" y="1007"/>
                  </a:lnTo>
                  <a:lnTo>
                    <a:pt x="2639" y="1007"/>
                  </a:lnTo>
                  <a:lnTo>
                    <a:pt x="2642" y="1006"/>
                  </a:lnTo>
                  <a:lnTo>
                    <a:pt x="2645" y="1004"/>
                  </a:lnTo>
                  <a:lnTo>
                    <a:pt x="2647" y="1000"/>
                  </a:lnTo>
                  <a:lnTo>
                    <a:pt x="2648" y="989"/>
                  </a:lnTo>
                  <a:lnTo>
                    <a:pt x="2648" y="989"/>
                  </a:lnTo>
                  <a:lnTo>
                    <a:pt x="2648" y="975"/>
                  </a:lnTo>
                  <a:lnTo>
                    <a:pt x="2647" y="962"/>
                  </a:lnTo>
                  <a:lnTo>
                    <a:pt x="2642" y="935"/>
                  </a:lnTo>
                  <a:lnTo>
                    <a:pt x="2638" y="907"/>
                  </a:lnTo>
                  <a:lnTo>
                    <a:pt x="2633" y="880"/>
                  </a:lnTo>
                  <a:lnTo>
                    <a:pt x="2633" y="880"/>
                  </a:lnTo>
                  <a:lnTo>
                    <a:pt x="2633" y="867"/>
                  </a:lnTo>
                  <a:lnTo>
                    <a:pt x="2635" y="859"/>
                  </a:lnTo>
                  <a:lnTo>
                    <a:pt x="2636" y="853"/>
                  </a:lnTo>
                  <a:lnTo>
                    <a:pt x="2639" y="849"/>
                  </a:lnTo>
                  <a:lnTo>
                    <a:pt x="2644" y="844"/>
                  </a:lnTo>
                  <a:lnTo>
                    <a:pt x="2648" y="839"/>
                  </a:lnTo>
                  <a:lnTo>
                    <a:pt x="2654" y="836"/>
                  </a:lnTo>
                  <a:lnTo>
                    <a:pt x="2654" y="836"/>
                  </a:lnTo>
                  <a:lnTo>
                    <a:pt x="2660" y="835"/>
                  </a:lnTo>
                  <a:lnTo>
                    <a:pt x="2668" y="833"/>
                  </a:lnTo>
                  <a:lnTo>
                    <a:pt x="2674" y="835"/>
                  </a:lnTo>
                  <a:lnTo>
                    <a:pt x="2680" y="836"/>
                  </a:lnTo>
                  <a:lnTo>
                    <a:pt x="2686" y="838"/>
                  </a:lnTo>
                  <a:lnTo>
                    <a:pt x="2690" y="842"/>
                  </a:lnTo>
                  <a:lnTo>
                    <a:pt x="2695" y="847"/>
                  </a:lnTo>
                  <a:lnTo>
                    <a:pt x="2698" y="853"/>
                  </a:lnTo>
                  <a:lnTo>
                    <a:pt x="2698" y="853"/>
                  </a:lnTo>
                  <a:lnTo>
                    <a:pt x="2706" y="867"/>
                  </a:lnTo>
                  <a:lnTo>
                    <a:pt x="2712" y="880"/>
                  </a:lnTo>
                  <a:lnTo>
                    <a:pt x="2712" y="880"/>
                  </a:lnTo>
                  <a:lnTo>
                    <a:pt x="2713" y="885"/>
                  </a:lnTo>
                  <a:lnTo>
                    <a:pt x="2716" y="886"/>
                  </a:lnTo>
                  <a:lnTo>
                    <a:pt x="2719" y="886"/>
                  </a:lnTo>
                  <a:lnTo>
                    <a:pt x="2724" y="886"/>
                  </a:lnTo>
                  <a:lnTo>
                    <a:pt x="2724" y="886"/>
                  </a:lnTo>
                  <a:lnTo>
                    <a:pt x="2733" y="883"/>
                  </a:lnTo>
                  <a:lnTo>
                    <a:pt x="2743" y="885"/>
                  </a:lnTo>
                  <a:lnTo>
                    <a:pt x="2752" y="889"/>
                  </a:lnTo>
                  <a:lnTo>
                    <a:pt x="2760" y="897"/>
                  </a:lnTo>
                  <a:lnTo>
                    <a:pt x="2760" y="897"/>
                  </a:lnTo>
                  <a:lnTo>
                    <a:pt x="2764" y="901"/>
                  </a:lnTo>
                  <a:lnTo>
                    <a:pt x="2769" y="903"/>
                  </a:lnTo>
                  <a:lnTo>
                    <a:pt x="2775" y="903"/>
                  </a:lnTo>
                  <a:lnTo>
                    <a:pt x="2781" y="900"/>
                  </a:lnTo>
                  <a:lnTo>
                    <a:pt x="2781" y="900"/>
                  </a:lnTo>
                  <a:lnTo>
                    <a:pt x="2792" y="894"/>
                  </a:lnTo>
                  <a:lnTo>
                    <a:pt x="2801" y="888"/>
                  </a:lnTo>
                  <a:lnTo>
                    <a:pt x="2808" y="879"/>
                  </a:lnTo>
                  <a:lnTo>
                    <a:pt x="2816" y="870"/>
                  </a:lnTo>
                  <a:lnTo>
                    <a:pt x="2820" y="861"/>
                  </a:lnTo>
                  <a:lnTo>
                    <a:pt x="2823" y="850"/>
                  </a:lnTo>
                  <a:lnTo>
                    <a:pt x="2826" y="838"/>
                  </a:lnTo>
                  <a:lnTo>
                    <a:pt x="2829" y="827"/>
                  </a:lnTo>
                  <a:lnTo>
                    <a:pt x="2829" y="827"/>
                  </a:lnTo>
                  <a:lnTo>
                    <a:pt x="2829" y="814"/>
                  </a:lnTo>
                  <a:lnTo>
                    <a:pt x="2831" y="808"/>
                  </a:lnTo>
                  <a:lnTo>
                    <a:pt x="2832" y="802"/>
                  </a:lnTo>
                  <a:lnTo>
                    <a:pt x="2832" y="802"/>
                  </a:lnTo>
                  <a:lnTo>
                    <a:pt x="2846" y="776"/>
                  </a:lnTo>
                  <a:lnTo>
                    <a:pt x="2860" y="749"/>
                  </a:lnTo>
                  <a:lnTo>
                    <a:pt x="2872" y="722"/>
                  </a:lnTo>
                  <a:lnTo>
                    <a:pt x="2887" y="694"/>
                  </a:lnTo>
                  <a:lnTo>
                    <a:pt x="2887" y="694"/>
                  </a:lnTo>
                  <a:lnTo>
                    <a:pt x="2893" y="685"/>
                  </a:lnTo>
                  <a:lnTo>
                    <a:pt x="2894" y="681"/>
                  </a:lnTo>
                  <a:lnTo>
                    <a:pt x="2894" y="675"/>
                  </a:lnTo>
                  <a:lnTo>
                    <a:pt x="2894" y="675"/>
                  </a:lnTo>
                  <a:lnTo>
                    <a:pt x="2893" y="658"/>
                  </a:lnTo>
                  <a:lnTo>
                    <a:pt x="2894" y="643"/>
                  </a:lnTo>
                  <a:lnTo>
                    <a:pt x="2897" y="628"/>
                  </a:lnTo>
                  <a:lnTo>
                    <a:pt x="2903" y="613"/>
                  </a:lnTo>
                  <a:lnTo>
                    <a:pt x="2903" y="613"/>
                  </a:lnTo>
                  <a:lnTo>
                    <a:pt x="2906" y="605"/>
                  </a:lnTo>
                  <a:lnTo>
                    <a:pt x="2911" y="598"/>
                  </a:lnTo>
                  <a:lnTo>
                    <a:pt x="2915" y="592"/>
                  </a:lnTo>
                  <a:lnTo>
                    <a:pt x="2921" y="587"/>
                  </a:lnTo>
                  <a:lnTo>
                    <a:pt x="2926" y="584"/>
                  </a:lnTo>
                  <a:lnTo>
                    <a:pt x="2933" y="583"/>
                  </a:lnTo>
                  <a:lnTo>
                    <a:pt x="2940" y="583"/>
                  </a:lnTo>
                  <a:lnTo>
                    <a:pt x="2946" y="584"/>
                  </a:lnTo>
                  <a:lnTo>
                    <a:pt x="2946" y="584"/>
                  </a:lnTo>
                  <a:lnTo>
                    <a:pt x="2956" y="587"/>
                  </a:lnTo>
                  <a:lnTo>
                    <a:pt x="2965" y="592"/>
                  </a:lnTo>
                  <a:lnTo>
                    <a:pt x="2973" y="598"/>
                  </a:lnTo>
                  <a:lnTo>
                    <a:pt x="2980" y="604"/>
                  </a:lnTo>
                  <a:lnTo>
                    <a:pt x="2985" y="610"/>
                  </a:lnTo>
                  <a:lnTo>
                    <a:pt x="2988" y="619"/>
                  </a:lnTo>
                  <a:lnTo>
                    <a:pt x="2989" y="626"/>
                  </a:lnTo>
                  <a:lnTo>
                    <a:pt x="2988" y="637"/>
                  </a:lnTo>
                  <a:lnTo>
                    <a:pt x="2988" y="637"/>
                  </a:lnTo>
                  <a:lnTo>
                    <a:pt x="2986" y="648"/>
                  </a:lnTo>
                  <a:lnTo>
                    <a:pt x="2986" y="660"/>
                  </a:lnTo>
                  <a:lnTo>
                    <a:pt x="2988" y="670"/>
                  </a:lnTo>
                  <a:lnTo>
                    <a:pt x="2989" y="681"/>
                  </a:lnTo>
                  <a:lnTo>
                    <a:pt x="2989" y="681"/>
                  </a:lnTo>
                  <a:lnTo>
                    <a:pt x="2994" y="696"/>
                  </a:lnTo>
                  <a:lnTo>
                    <a:pt x="2995" y="711"/>
                  </a:lnTo>
                  <a:lnTo>
                    <a:pt x="2995" y="726"/>
                  </a:lnTo>
                  <a:lnTo>
                    <a:pt x="2994" y="734"/>
                  </a:lnTo>
                  <a:lnTo>
                    <a:pt x="2991" y="741"/>
                  </a:lnTo>
                  <a:lnTo>
                    <a:pt x="2991" y="741"/>
                  </a:lnTo>
                  <a:lnTo>
                    <a:pt x="2989" y="747"/>
                  </a:lnTo>
                  <a:lnTo>
                    <a:pt x="2989" y="753"/>
                  </a:lnTo>
                  <a:lnTo>
                    <a:pt x="2991" y="758"/>
                  </a:lnTo>
                  <a:lnTo>
                    <a:pt x="2994" y="764"/>
                  </a:lnTo>
                  <a:lnTo>
                    <a:pt x="2994" y="764"/>
                  </a:lnTo>
                  <a:lnTo>
                    <a:pt x="3020" y="802"/>
                  </a:lnTo>
                  <a:lnTo>
                    <a:pt x="3032" y="821"/>
                  </a:lnTo>
                  <a:lnTo>
                    <a:pt x="3042" y="841"/>
                  </a:lnTo>
                  <a:lnTo>
                    <a:pt x="3042" y="841"/>
                  </a:lnTo>
                  <a:lnTo>
                    <a:pt x="3051" y="862"/>
                  </a:lnTo>
                  <a:lnTo>
                    <a:pt x="3063" y="883"/>
                  </a:lnTo>
                  <a:lnTo>
                    <a:pt x="3072" y="903"/>
                  </a:lnTo>
                  <a:lnTo>
                    <a:pt x="3077" y="915"/>
                  </a:lnTo>
                  <a:lnTo>
                    <a:pt x="3078" y="927"/>
                  </a:lnTo>
                  <a:lnTo>
                    <a:pt x="3078" y="927"/>
                  </a:lnTo>
                  <a:lnTo>
                    <a:pt x="3083" y="960"/>
                  </a:lnTo>
                  <a:lnTo>
                    <a:pt x="3091" y="994"/>
                  </a:lnTo>
                  <a:lnTo>
                    <a:pt x="3098" y="1027"/>
                  </a:lnTo>
                  <a:lnTo>
                    <a:pt x="3104" y="1043"/>
                  </a:lnTo>
                  <a:lnTo>
                    <a:pt x="3112" y="1058"/>
                  </a:lnTo>
                  <a:lnTo>
                    <a:pt x="3112" y="1058"/>
                  </a:lnTo>
                  <a:lnTo>
                    <a:pt x="3118" y="1077"/>
                  </a:lnTo>
                  <a:lnTo>
                    <a:pt x="3124" y="1095"/>
                  </a:lnTo>
                  <a:lnTo>
                    <a:pt x="3128" y="1111"/>
                  </a:lnTo>
                  <a:lnTo>
                    <a:pt x="3130" y="1131"/>
                  </a:lnTo>
                  <a:lnTo>
                    <a:pt x="3130" y="1131"/>
                  </a:lnTo>
                  <a:lnTo>
                    <a:pt x="3133" y="1157"/>
                  </a:lnTo>
                  <a:lnTo>
                    <a:pt x="3133" y="1182"/>
                  </a:lnTo>
                  <a:lnTo>
                    <a:pt x="3133" y="1194"/>
                  </a:lnTo>
                  <a:lnTo>
                    <a:pt x="3131" y="1208"/>
                  </a:lnTo>
                  <a:lnTo>
                    <a:pt x="3128" y="1220"/>
                  </a:lnTo>
                  <a:lnTo>
                    <a:pt x="3122" y="1232"/>
                  </a:lnTo>
                  <a:lnTo>
                    <a:pt x="3122" y="1232"/>
                  </a:lnTo>
                  <a:lnTo>
                    <a:pt x="3118" y="1235"/>
                  </a:lnTo>
                  <a:lnTo>
                    <a:pt x="3116" y="1240"/>
                  </a:lnTo>
                  <a:lnTo>
                    <a:pt x="3115" y="1244"/>
                  </a:lnTo>
                  <a:lnTo>
                    <a:pt x="3116" y="1249"/>
                  </a:lnTo>
                  <a:lnTo>
                    <a:pt x="3116" y="1249"/>
                  </a:lnTo>
                  <a:lnTo>
                    <a:pt x="3118" y="1261"/>
                  </a:lnTo>
                  <a:lnTo>
                    <a:pt x="3119" y="1273"/>
                  </a:lnTo>
                  <a:lnTo>
                    <a:pt x="3118" y="1284"/>
                  </a:lnTo>
                  <a:lnTo>
                    <a:pt x="3116" y="1296"/>
                  </a:lnTo>
                  <a:lnTo>
                    <a:pt x="3116" y="1296"/>
                  </a:lnTo>
                  <a:lnTo>
                    <a:pt x="3113" y="1306"/>
                  </a:lnTo>
                  <a:lnTo>
                    <a:pt x="3109" y="1317"/>
                  </a:lnTo>
                  <a:lnTo>
                    <a:pt x="3103" y="1324"/>
                  </a:lnTo>
                  <a:lnTo>
                    <a:pt x="3095" y="1330"/>
                  </a:lnTo>
                  <a:lnTo>
                    <a:pt x="3087" y="1336"/>
                  </a:lnTo>
                  <a:lnTo>
                    <a:pt x="3078" y="1341"/>
                  </a:lnTo>
                  <a:lnTo>
                    <a:pt x="3069" y="1344"/>
                  </a:lnTo>
                  <a:lnTo>
                    <a:pt x="3059" y="1345"/>
                  </a:lnTo>
                  <a:lnTo>
                    <a:pt x="3059" y="1345"/>
                  </a:lnTo>
                  <a:lnTo>
                    <a:pt x="3041" y="1350"/>
                  </a:lnTo>
                  <a:lnTo>
                    <a:pt x="3024" y="1359"/>
                  </a:lnTo>
                  <a:lnTo>
                    <a:pt x="3009" y="1368"/>
                  </a:lnTo>
                  <a:lnTo>
                    <a:pt x="2994" y="1379"/>
                  </a:lnTo>
                  <a:lnTo>
                    <a:pt x="2994" y="1379"/>
                  </a:lnTo>
                  <a:lnTo>
                    <a:pt x="2985" y="1386"/>
                  </a:lnTo>
                  <a:lnTo>
                    <a:pt x="2976" y="1391"/>
                  </a:lnTo>
                  <a:lnTo>
                    <a:pt x="2965" y="1395"/>
                  </a:lnTo>
                  <a:lnTo>
                    <a:pt x="2955" y="1397"/>
                  </a:lnTo>
                  <a:lnTo>
                    <a:pt x="2955" y="1397"/>
                  </a:lnTo>
                  <a:lnTo>
                    <a:pt x="2947" y="1398"/>
                  </a:lnTo>
                  <a:lnTo>
                    <a:pt x="2941" y="1401"/>
                  </a:lnTo>
                  <a:lnTo>
                    <a:pt x="2935" y="1404"/>
                  </a:lnTo>
                  <a:lnTo>
                    <a:pt x="2929" y="1407"/>
                  </a:lnTo>
                  <a:lnTo>
                    <a:pt x="2921" y="1418"/>
                  </a:lnTo>
                  <a:lnTo>
                    <a:pt x="2915" y="1430"/>
                  </a:lnTo>
                  <a:lnTo>
                    <a:pt x="2915" y="1430"/>
                  </a:lnTo>
                  <a:lnTo>
                    <a:pt x="2912" y="1435"/>
                  </a:lnTo>
                  <a:lnTo>
                    <a:pt x="2911" y="1441"/>
                  </a:lnTo>
                  <a:lnTo>
                    <a:pt x="2911" y="1441"/>
                  </a:lnTo>
                  <a:lnTo>
                    <a:pt x="2900" y="1451"/>
                  </a:lnTo>
                  <a:lnTo>
                    <a:pt x="2893" y="1463"/>
                  </a:lnTo>
                  <a:lnTo>
                    <a:pt x="2888" y="1477"/>
                  </a:lnTo>
                  <a:lnTo>
                    <a:pt x="2884" y="1489"/>
                  </a:lnTo>
                  <a:lnTo>
                    <a:pt x="2878" y="1516"/>
                  </a:lnTo>
                  <a:lnTo>
                    <a:pt x="2872" y="1545"/>
                  </a:lnTo>
                  <a:lnTo>
                    <a:pt x="2872" y="1545"/>
                  </a:lnTo>
                  <a:lnTo>
                    <a:pt x="2870" y="1558"/>
                  </a:lnTo>
                  <a:lnTo>
                    <a:pt x="2869" y="1574"/>
                  </a:lnTo>
                  <a:lnTo>
                    <a:pt x="2866" y="1587"/>
                  </a:lnTo>
                  <a:lnTo>
                    <a:pt x="2864" y="1595"/>
                  </a:lnTo>
                  <a:lnTo>
                    <a:pt x="2860" y="1601"/>
                  </a:lnTo>
                  <a:lnTo>
                    <a:pt x="2860" y="1601"/>
                  </a:lnTo>
                  <a:lnTo>
                    <a:pt x="2856" y="1607"/>
                  </a:lnTo>
                  <a:lnTo>
                    <a:pt x="2853" y="1613"/>
                  </a:lnTo>
                  <a:lnTo>
                    <a:pt x="2853" y="1613"/>
                  </a:lnTo>
                  <a:lnTo>
                    <a:pt x="2847" y="1622"/>
                  </a:lnTo>
                  <a:lnTo>
                    <a:pt x="2846" y="1629"/>
                  </a:lnTo>
                  <a:lnTo>
                    <a:pt x="2847" y="1638"/>
                  </a:lnTo>
                  <a:lnTo>
                    <a:pt x="2852" y="1649"/>
                  </a:lnTo>
                  <a:lnTo>
                    <a:pt x="2852" y="1649"/>
                  </a:lnTo>
                  <a:lnTo>
                    <a:pt x="2855" y="1657"/>
                  </a:lnTo>
                  <a:lnTo>
                    <a:pt x="2858" y="1664"/>
                  </a:lnTo>
                  <a:lnTo>
                    <a:pt x="2858" y="1673"/>
                  </a:lnTo>
                  <a:lnTo>
                    <a:pt x="2858" y="1681"/>
                  </a:lnTo>
                  <a:lnTo>
                    <a:pt x="2856" y="1690"/>
                  </a:lnTo>
                  <a:lnTo>
                    <a:pt x="2855" y="1697"/>
                  </a:lnTo>
                  <a:lnTo>
                    <a:pt x="2847" y="1712"/>
                  </a:lnTo>
                  <a:lnTo>
                    <a:pt x="2847" y="1712"/>
                  </a:lnTo>
                  <a:lnTo>
                    <a:pt x="2840" y="1725"/>
                  </a:lnTo>
                  <a:lnTo>
                    <a:pt x="2832" y="1738"/>
                  </a:lnTo>
                  <a:lnTo>
                    <a:pt x="2829" y="1744"/>
                  </a:lnTo>
                  <a:lnTo>
                    <a:pt x="2826" y="1750"/>
                  </a:lnTo>
                  <a:lnTo>
                    <a:pt x="2826" y="1758"/>
                  </a:lnTo>
                  <a:lnTo>
                    <a:pt x="2826" y="1765"/>
                  </a:lnTo>
                  <a:lnTo>
                    <a:pt x="2826" y="1765"/>
                  </a:lnTo>
                  <a:lnTo>
                    <a:pt x="2825" y="1770"/>
                  </a:lnTo>
                  <a:lnTo>
                    <a:pt x="2823" y="1774"/>
                  </a:lnTo>
                  <a:lnTo>
                    <a:pt x="2819" y="1779"/>
                  </a:lnTo>
                  <a:lnTo>
                    <a:pt x="2814" y="1782"/>
                  </a:lnTo>
                  <a:lnTo>
                    <a:pt x="2814" y="1782"/>
                  </a:lnTo>
                  <a:lnTo>
                    <a:pt x="2793" y="1793"/>
                  </a:lnTo>
                  <a:lnTo>
                    <a:pt x="2772" y="1803"/>
                  </a:lnTo>
                  <a:lnTo>
                    <a:pt x="2761" y="1806"/>
                  </a:lnTo>
                  <a:lnTo>
                    <a:pt x="2749" y="1809"/>
                  </a:lnTo>
                  <a:lnTo>
                    <a:pt x="2737" y="1811"/>
                  </a:lnTo>
                  <a:lnTo>
                    <a:pt x="2725" y="1809"/>
                  </a:lnTo>
                  <a:lnTo>
                    <a:pt x="2725" y="1809"/>
                  </a:lnTo>
                  <a:lnTo>
                    <a:pt x="2716" y="1809"/>
                  </a:lnTo>
                  <a:lnTo>
                    <a:pt x="2709" y="1812"/>
                  </a:lnTo>
                  <a:lnTo>
                    <a:pt x="2702" y="1817"/>
                  </a:lnTo>
                  <a:lnTo>
                    <a:pt x="2696" y="1824"/>
                  </a:lnTo>
                  <a:lnTo>
                    <a:pt x="2696" y="1824"/>
                  </a:lnTo>
                  <a:lnTo>
                    <a:pt x="2686" y="1839"/>
                  </a:lnTo>
                  <a:lnTo>
                    <a:pt x="2675" y="1856"/>
                  </a:lnTo>
                  <a:lnTo>
                    <a:pt x="2675" y="1856"/>
                  </a:lnTo>
                  <a:lnTo>
                    <a:pt x="2672" y="1860"/>
                  </a:lnTo>
                  <a:lnTo>
                    <a:pt x="2672" y="1865"/>
                  </a:lnTo>
                  <a:lnTo>
                    <a:pt x="2674" y="1868"/>
                  </a:lnTo>
                  <a:lnTo>
                    <a:pt x="2675" y="1873"/>
                  </a:lnTo>
                  <a:lnTo>
                    <a:pt x="2675" y="1873"/>
                  </a:lnTo>
                  <a:lnTo>
                    <a:pt x="2678" y="1883"/>
                  </a:lnTo>
                  <a:lnTo>
                    <a:pt x="2678" y="1892"/>
                  </a:lnTo>
                  <a:lnTo>
                    <a:pt x="2675" y="1903"/>
                  </a:lnTo>
                  <a:lnTo>
                    <a:pt x="2669" y="1912"/>
                  </a:lnTo>
                  <a:lnTo>
                    <a:pt x="2669" y="1912"/>
                  </a:lnTo>
                  <a:lnTo>
                    <a:pt x="2656" y="1930"/>
                  </a:lnTo>
                  <a:lnTo>
                    <a:pt x="2641" y="1950"/>
                  </a:lnTo>
                  <a:lnTo>
                    <a:pt x="2641" y="1950"/>
                  </a:lnTo>
                  <a:lnTo>
                    <a:pt x="2633" y="1957"/>
                  </a:lnTo>
                  <a:lnTo>
                    <a:pt x="2625" y="1963"/>
                  </a:lnTo>
                  <a:lnTo>
                    <a:pt x="2616" y="1966"/>
                  </a:lnTo>
                  <a:lnTo>
                    <a:pt x="2606" y="1968"/>
                  </a:lnTo>
                  <a:lnTo>
                    <a:pt x="2606" y="1968"/>
                  </a:lnTo>
                  <a:lnTo>
                    <a:pt x="2541" y="1968"/>
                  </a:lnTo>
                  <a:lnTo>
                    <a:pt x="2541" y="1968"/>
                  </a:lnTo>
                  <a:lnTo>
                    <a:pt x="2535" y="1968"/>
                  </a:lnTo>
                  <a:lnTo>
                    <a:pt x="2530" y="1969"/>
                  </a:lnTo>
                  <a:lnTo>
                    <a:pt x="2526" y="1972"/>
                  </a:lnTo>
                  <a:lnTo>
                    <a:pt x="2523" y="1978"/>
                  </a:lnTo>
                  <a:lnTo>
                    <a:pt x="2523" y="1978"/>
                  </a:lnTo>
                  <a:lnTo>
                    <a:pt x="2515" y="1992"/>
                  </a:lnTo>
                  <a:lnTo>
                    <a:pt x="2508" y="2004"/>
                  </a:lnTo>
                  <a:lnTo>
                    <a:pt x="2499" y="2015"/>
                  </a:lnTo>
                  <a:lnTo>
                    <a:pt x="2490" y="2027"/>
                  </a:lnTo>
                  <a:lnTo>
                    <a:pt x="2468" y="2046"/>
                  </a:lnTo>
                  <a:lnTo>
                    <a:pt x="2446" y="2064"/>
                  </a:lnTo>
                  <a:lnTo>
                    <a:pt x="2446" y="2064"/>
                  </a:lnTo>
                  <a:lnTo>
                    <a:pt x="2441" y="2066"/>
                  </a:lnTo>
                  <a:lnTo>
                    <a:pt x="2437" y="2067"/>
                  </a:lnTo>
                  <a:lnTo>
                    <a:pt x="2437" y="2067"/>
                  </a:lnTo>
                  <a:lnTo>
                    <a:pt x="2425" y="2067"/>
                  </a:lnTo>
                  <a:lnTo>
                    <a:pt x="2413" y="2069"/>
                  </a:lnTo>
                  <a:lnTo>
                    <a:pt x="2402" y="2072"/>
                  </a:lnTo>
                  <a:lnTo>
                    <a:pt x="2391" y="2076"/>
                  </a:lnTo>
                  <a:lnTo>
                    <a:pt x="2373" y="2090"/>
                  </a:lnTo>
                  <a:lnTo>
                    <a:pt x="2354" y="2102"/>
                  </a:lnTo>
                  <a:lnTo>
                    <a:pt x="2354" y="2102"/>
                  </a:lnTo>
                  <a:lnTo>
                    <a:pt x="2340" y="2111"/>
                  </a:lnTo>
                  <a:lnTo>
                    <a:pt x="2325" y="2117"/>
                  </a:lnTo>
                  <a:lnTo>
                    <a:pt x="2310" y="2123"/>
                  </a:lnTo>
                  <a:lnTo>
                    <a:pt x="2295" y="2125"/>
                  </a:lnTo>
                  <a:lnTo>
                    <a:pt x="2280" y="2125"/>
                  </a:lnTo>
                  <a:lnTo>
                    <a:pt x="2263" y="2123"/>
                  </a:lnTo>
                  <a:lnTo>
                    <a:pt x="2248" y="2117"/>
                  </a:lnTo>
                  <a:lnTo>
                    <a:pt x="2233" y="2110"/>
                  </a:lnTo>
                  <a:lnTo>
                    <a:pt x="2233" y="2110"/>
                  </a:lnTo>
                  <a:lnTo>
                    <a:pt x="2225" y="2107"/>
                  </a:lnTo>
                  <a:lnTo>
                    <a:pt x="2219" y="2105"/>
                  </a:lnTo>
                  <a:lnTo>
                    <a:pt x="2215" y="2104"/>
                  </a:lnTo>
                  <a:lnTo>
                    <a:pt x="2209" y="2105"/>
                  </a:lnTo>
                  <a:lnTo>
                    <a:pt x="2204" y="2107"/>
                  </a:lnTo>
                  <a:lnTo>
                    <a:pt x="2198" y="2110"/>
                  </a:lnTo>
                  <a:lnTo>
                    <a:pt x="2189" y="2120"/>
                  </a:lnTo>
                  <a:lnTo>
                    <a:pt x="2189" y="2120"/>
                  </a:lnTo>
                  <a:lnTo>
                    <a:pt x="2183" y="2126"/>
                  </a:lnTo>
                  <a:lnTo>
                    <a:pt x="2176" y="2129"/>
                  </a:lnTo>
                  <a:lnTo>
                    <a:pt x="2167" y="2132"/>
                  </a:lnTo>
                  <a:lnTo>
                    <a:pt x="2157" y="2132"/>
                  </a:lnTo>
                  <a:lnTo>
                    <a:pt x="2148" y="2132"/>
                  </a:lnTo>
                  <a:lnTo>
                    <a:pt x="2139" y="2129"/>
                  </a:lnTo>
                  <a:lnTo>
                    <a:pt x="2130" y="2126"/>
                  </a:lnTo>
                  <a:lnTo>
                    <a:pt x="2124" y="2120"/>
                  </a:lnTo>
                  <a:lnTo>
                    <a:pt x="2124" y="2120"/>
                  </a:lnTo>
                  <a:lnTo>
                    <a:pt x="2111" y="2108"/>
                  </a:lnTo>
                  <a:lnTo>
                    <a:pt x="2097" y="2099"/>
                  </a:lnTo>
                  <a:lnTo>
                    <a:pt x="2082" y="2093"/>
                  </a:lnTo>
                  <a:lnTo>
                    <a:pt x="2067" y="2087"/>
                  </a:lnTo>
                  <a:lnTo>
                    <a:pt x="2052" y="2084"/>
                  </a:lnTo>
                  <a:lnTo>
                    <a:pt x="2035" y="2081"/>
                  </a:lnTo>
                  <a:lnTo>
                    <a:pt x="2003" y="2075"/>
                  </a:lnTo>
                  <a:lnTo>
                    <a:pt x="2003" y="2075"/>
                  </a:lnTo>
                  <a:lnTo>
                    <a:pt x="1999" y="2075"/>
                  </a:lnTo>
                  <a:lnTo>
                    <a:pt x="1994" y="2073"/>
                  </a:lnTo>
                  <a:lnTo>
                    <a:pt x="1994" y="2073"/>
                  </a:lnTo>
                  <a:lnTo>
                    <a:pt x="1984" y="2070"/>
                  </a:lnTo>
                  <a:lnTo>
                    <a:pt x="1979" y="2070"/>
                  </a:lnTo>
                  <a:lnTo>
                    <a:pt x="1975" y="2070"/>
                  </a:lnTo>
                  <a:lnTo>
                    <a:pt x="1972" y="2073"/>
                  </a:lnTo>
                  <a:lnTo>
                    <a:pt x="1967" y="2075"/>
                  </a:lnTo>
                  <a:lnTo>
                    <a:pt x="1964" y="2080"/>
                  </a:lnTo>
                  <a:lnTo>
                    <a:pt x="1961" y="2086"/>
                  </a:lnTo>
                  <a:lnTo>
                    <a:pt x="1961" y="2086"/>
                  </a:lnTo>
                  <a:lnTo>
                    <a:pt x="1957" y="2092"/>
                  </a:lnTo>
                  <a:lnTo>
                    <a:pt x="1951" y="2096"/>
                  </a:lnTo>
                  <a:lnTo>
                    <a:pt x="1945" y="2101"/>
                  </a:lnTo>
                  <a:lnTo>
                    <a:pt x="1937" y="2102"/>
                  </a:lnTo>
                  <a:lnTo>
                    <a:pt x="1937" y="2102"/>
                  </a:lnTo>
                  <a:lnTo>
                    <a:pt x="1931" y="2102"/>
                  </a:lnTo>
                  <a:lnTo>
                    <a:pt x="1925" y="2105"/>
                  </a:lnTo>
                  <a:lnTo>
                    <a:pt x="1920" y="2108"/>
                  </a:lnTo>
                  <a:lnTo>
                    <a:pt x="1917" y="2111"/>
                  </a:lnTo>
                  <a:lnTo>
                    <a:pt x="1913" y="2120"/>
                  </a:lnTo>
                  <a:lnTo>
                    <a:pt x="1910" y="2131"/>
                  </a:lnTo>
                  <a:lnTo>
                    <a:pt x="1910" y="2131"/>
                  </a:lnTo>
                  <a:lnTo>
                    <a:pt x="1902" y="2150"/>
                  </a:lnTo>
                  <a:lnTo>
                    <a:pt x="1899" y="2160"/>
                  </a:lnTo>
                  <a:lnTo>
                    <a:pt x="1893" y="2169"/>
                  </a:lnTo>
                  <a:lnTo>
                    <a:pt x="1887" y="2176"/>
                  </a:lnTo>
                  <a:lnTo>
                    <a:pt x="1881" y="2184"/>
                  </a:lnTo>
                  <a:lnTo>
                    <a:pt x="1872" y="2190"/>
                  </a:lnTo>
                  <a:lnTo>
                    <a:pt x="1862" y="2196"/>
                  </a:lnTo>
                  <a:lnTo>
                    <a:pt x="1862" y="2196"/>
                  </a:lnTo>
                  <a:lnTo>
                    <a:pt x="1860" y="2197"/>
                  </a:lnTo>
                  <a:lnTo>
                    <a:pt x="1859" y="2199"/>
                  </a:lnTo>
                  <a:lnTo>
                    <a:pt x="1859" y="2199"/>
                  </a:lnTo>
                  <a:lnTo>
                    <a:pt x="1855" y="2208"/>
                  </a:lnTo>
                  <a:lnTo>
                    <a:pt x="1852" y="2215"/>
                  </a:lnTo>
                  <a:lnTo>
                    <a:pt x="1843" y="2231"/>
                  </a:lnTo>
                  <a:lnTo>
                    <a:pt x="1821" y="2258"/>
                  </a:lnTo>
                  <a:lnTo>
                    <a:pt x="1821" y="2258"/>
                  </a:lnTo>
                  <a:lnTo>
                    <a:pt x="1819" y="2262"/>
                  </a:lnTo>
                  <a:lnTo>
                    <a:pt x="1818" y="2267"/>
                  </a:lnTo>
                  <a:lnTo>
                    <a:pt x="1818" y="2274"/>
                  </a:lnTo>
                  <a:lnTo>
                    <a:pt x="1818" y="2274"/>
                  </a:lnTo>
                  <a:lnTo>
                    <a:pt x="1818" y="2297"/>
                  </a:lnTo>
                  <a:lnTo>
                    <a:pt x="1815" y="2318"/>
                  </a:lnTo>
                  <a:lnTo>
                    <a:pt x="1809" y="2339"/>
                  </a:lnTo>
                  <a:lnTo>
                    <a:pt x="1804" y="2350"/>
                  </a:lnTo>
                  <a:lnTo>
                    <a:pt x="1798" y="2360"/>
                  </a:lnTo>
                  <a:lnTo>
                    <a:pt x="1798" y="2360"/>
                  </a:lnTo>
                  <a:lnTo>
                    <a:pt x="1794" y="2373"/>
                  </a:lnTo>
                  <a:lnTo>
                    <a:pt x="1788" y="2386"/>
                  </a:lnTo>
                  <a:lnTo>
                    <a:pt x="1783" y="2400"/>
                  </a:lnTo>
                  <a:lnTo>
                    <a:pt x="1777" y="2412"/>
                  </a:lnTo>
                  <a:lnTo>
                    <a:pt x="1777" y="2412"/>
                  </a:lnTo>
                  <a:lnTo>
                    <a:pt x="1768" y="2424"/>
                  </a:lnTo>
                  <a:lnTo>
                    <a:pt x="1763" y="2428"/>
                  </a:lnTo>
                  <a:lnTo>
                    <a:pt x="1757" y="2431"/>
                  </a:lnTo>
                  <a:lnTo>
                    <a:pt x="1753" y="2433"/>
                  </a:lnTo>
                  <a:lnTo>
                    <a:pt x="1747" y="2434"/>
                  </a:lnTo>
                  <a:lnTo>
                    <a:pt x="1739" y="2434"/>
                  </a:lnTo>
                  <a:lnTo>
                    <a:pt x="1732" y="2433"/>
                  </a:lnTo>
                  <a:lnTo>
                    <a:pt x="1732" y="2433"/>
                  </a:lnTo>
                  <a:lnTo>
                    <a:pt x="1727" y="2431"/>
                  </a:lnTo>
                  <a:lnTo>
                    <a:pt x="1723" y="2428"/>
                  </a:lnTo>
                  <a:lnTo>
                    <a:pt x="1718" y="2425"/>
                  </a:lnTo>
                  <a:lnTo>
                    <a:pt x="1715" y="2421"/>
                  </a:lnTo>
                  <a:lnTo>
                    <a:pt x="1712" y="2415"/>
                  </a:lnTo>
                  <a:lnTo>
                    <a:pt x="1709" y="2409"/>
                  </a:lnTo>
                  <a:lnTo>
                    <a:pt x="1708" y="2395"/>
                  </a:lnTo>
                  <a:lnTo>
                    <a:pt x="1708" y="2395"/>
                  </a:lnTo>
                  <a:lnTo>
                    <a:pt x="1708" y="2354"/>
                  </a:lnTo>
                  <a:lnTo>
                    <a:pt x="1706" y="2333"/>
                  </a:lnTo>
                  <a:lnTo>
                    <a:pt x="1705" y="2324"/>
                  </a:lnTo>
                  <a:lnTo>
                    <a:pt x="1703" y="2314"/>
                  </a:lnTo>
                  <a:lnTo>
                    <a:pt x="1703" y="2314"/>
                  </a:lnTo>
                  <a:lnTo>
                    <a:pt x="1701" y="2308"/>
                  </a:lnTo>
                  <a:lnTo>
                    <a:pt x="1701" y="2303"/>
                  </a:lnTo>
                  <a:lnTo>
                    <a:pt x="1701" y="2297"/>
                  </a:lnTo>
                  <a:lnTo>
                    <a:pt x="1700" y="2295"/>
                  </a:lnTo>
                  <a:lnTo>
                    <a:pt x="1697" y="2294"/>
                  </a:lnTo>
                  <a:lnTo>
                    <a:pt x="1697" y="2294"/>
                  </a:lnTo>
                  <a:lnTo>
                    <a:pt x="1689" y="2291"/>
                  </a:lnTo>
                  <a:lnTo>
                    <a:pt x="1680" y="2288"/>
                  </a:lnTo>
                  <a:lnTo>
                    <a:pt x="1673" y="2288"/>
                  </a:lnTo>
                  <a:lnTo>
                    <a:pt x="1668" y="2288"/>
                  </a:lnTo>
                  <a:lnTo>
                    <a:pt x="1665" y="2289"/>
                  </a:lnTo>
                  <a:lnTo>
                    <a:pt x="1665" y="2289"/>
                  </a:lnTo>
                  <a:lnTo>
                    <a:pt x="1649" y="2297"/>
                  </a:lnTo>
                  <a:lnTo>
                    <a:pt x="1634" y="2302"/>
                  </a:lnTo>
                  <a:lnTo>
                    <a:pt x="1617" y="2305"/>
                  </a:lnTo>
                  <a:lnTo>
                    <a:pt x="1602" y="2305"/>
                  </a:lnTo>
                  <a:lnTo>
                    <a:pt x="1587" y="2302"/>
                  </a:lnTo>
                  <a:lnTo>
                    <a:pt x="1572" y="2297"/>
                  </a:lnTo>
                  <a:lnTo>
                    <a:pt x="1557" y="2291"/>
                  </a:lnTo>
                  <a:lnTo>
                    <a:pt x="1541" y="2282"/>
                  </a:lnTo>
                  <a:lnTo>
                    <a:pt x="1541" y="2282"/>
                  </a:lnTo>
                  <a:lnTo>
                    <a:pt x="1537" y="2280"/>
                  </a:lnTo>
                  <a:lnTo>
                    <a:pt x="1532" y="2279"/>
                  </a:lnTo>
                  <a:lnTo>
                    <a:pt x="1522" y="2279"/>
                  </a:lnTo>
                  <a:lnTo>
                    <a:pt x="1501" y="2279"/>
                  </a:lnTo>
                  <a:lnTo>
                    <a:pt x="1501" y="2279"/>
                  </a:lnTo>
                  <a:lnTo>
                    <a:pt x="1493" y="2279"/>
                  </a:lnTo>
                  <a:lnTo>
                    <a:pt x="1487" y="2277"/>
                  </a:lnTo>
                  <a:lnTo>
                    <a:pt x="1481" y="2274"/>
                  </a:lnTo>
                  <a:lnTo>
                    <a:pt x="1477" y="2271"/>
                  </a:lnTo>
                  <a:lnTo>
                    <a:pt x="1474" y="2268"/>
                  </a:lnTo>
                  <a:lnTo>
                    <a:pt x="1470" y="2262"/>
                  </a:lnTo>
                  <a:lnTo>
                    <a:pt x="1467" y="2258"/>
                  </a:lnTo>
                  <a:lnTo>
                    <a:pt x="1466" y="2250"/>
                  </a:lnTo>
                  <a:lnTo>
                    <a:pt x="1466" y="2250"/>
                  </a:lnTo>
                  <a:lnTo>
                    <a:pt x="1463" y="2241"/>
                  </a:lnTo>
                  <a:lnTo>
                    <a:pt x="1460" y="2234"/>
                  </a:lnTo>
                  <a:lnTo>
                    <a:pt x="1457" y="2226"/>
                  </a:lnTo>
                  <a:lnTo>
                    <a:pt x="1451" y="2221"/>
                  </a:lnTo>
                  <a:lnTo>
                    <a:pt x="1445" y="2217"/>
                  </a:lnTo>
                  <a:lnTo>
                    <a:pt x="1437" y="2214"/>
                  </a:lnTo>
                  <a:lnTo>
                    <a:pt x="1430" y="2212"/>
                  </a:lnTo>
                  <a:lnTo>
                    <a:pt x="1419" y="2212"/>
                  </a:lnTo>
                  <a:lnTo>
                    <a:pt x="1419" y="2212"/>
                  </a:lnTo>
                  <a:lnTo>
                    <a:pt x="1401" y="2211"/>
                  </a:lnTo>
                  <a:lnTo>
                    <a:pt x="1392" y="2209"/>
                  </a:lnTo>
                  <a:lnTo>
                    <a:pt x="1384" y="2208"/>
                  </a:lnTo>
                  <a:lnTo>
                    <a:pt x="1377" y="2203"/>
                  </a:lnTo>
                  <a:lnTo>
                    <a:pt x="1369" y="2199"/>
                  </a:lnTo>
                  <a:lnTo>
                    <a:pt x="1363" y="2193"/>
                  </a:lnTo>
                  <a:lnTo>
                    <a:pt x="1357" y="2185"/>
                  </a:lnTo>
                  <a:lnTo>
                    <a:pt x="1357" y="2185"/>
                  </a:lnTo>
                  <a:lnTo>
                    <a:pt x="1354" y="2182"/>
                  </a:lnTo>
                  <a:lnTo>
                    <a:pt x="1354" y="2182"/>
                  </a:lnTo>
                  <a:lnTo>
                    <a:pt x="1350" y="2181"/>
                  </a:lnTo>
                  <a:lnTo>
                    <a:pt x="1342" y="2181"/>
                  </a:lnTo>
                  <a:lnTo>
                    <a:pt x="1321" y="2181"/>
                  </a:lnTo>
                  <a:lnTo>
                    <a:pt x="1301" y="2185"/>
                  </a:lnTo>
                  <a:lnTo>
                    <a:pt x="1294" y="2187"/>
                  </a:lnTo>
                  <a:lnTo>
                    <a:pt x="1289" y="2190"/>
                  </a:lnTo>
                  <a:lnTo>
                    <a:pt x="1289" y="2190"/>
                  </a:lnTo>
                  <a:lnTo>
                    <a:pt x="1276" y="2206"/>
                  </a:lnTo>
                  <a:lnTo>
                    <a:pt x="1271" y="2215"/>
                  </a:lnTo>
                  <a:lnTo>
                    <a:pt x="1267" y="2226"/>
                  </a:lnTo>
                  <a:lnTo>
                    <a:pt x="1267" y="2226"/>
                  </a:lnTo>
                  <a:lnTo>
                    <a:pt x="1265" y="2232"/>
                  </a:lnTo>
                  <a:lnTo>
                    <a:pt x="1262" y="2238"/>
                  </a:lnTo>
                  <a:lnTo>
                    <a:pt x="1258" y="2243"/>
                  </a:lnTo>
                  <a:lnTo>
                    <a:pt x="1252" y="2246"/>
                  </a:lnTo>
                  <a:lnTo>
                    <a:pt x="1252" y="2246"/>
                  </a:lnTo>
                  <a:lnTo>
                    <a:pt x="1243" y="2250"/>
                  </a:lnTo>
                  <a:lnTo>
                    <a:pt x="1235" y="2258"/>
                  </a:lnTo>
                  <a:lnTo>
                    <a:pt x="1220" y="2273"/>
                  </a:lnTo>
                  <a:lnTo>
                    <a:pt x="1220" y="2273"/>
                  </a:lnTo>
                  <a:lnTo>
                    <a:pt x="1215" y="2277"/>
                  </a:lnTo>
                  <a:lnTo>
                    <a:pt x="1209" y="2282"/>
                  </a:lnTo>
                  <a:lnTo>
                    <a:pt x="1203" y="2285"/>
                  </a:lnTo>
                  <a:lnTo>
                    <a:pt x="1197" y="2288"/>
                  </a:lnTo>
                  <a:lnTo>
                    <a:pt x="1191" y="2289"/>
                  </a:lnTo>
                  <a:lnTo>
                    <a:pt x="1184" y="2289"/>
                  </a:lnTo>
                  <a:lnTo>
                    <a:pt x="1176" y="2288"/>
                  </a:lnTo>
                  <a:lnTo>
                    <a:pt x="1170" y="2286"/>
                  </a:lnTo>
                  <a:lnTo>
                    <a:pt x="1170" y="2286"/>
                  </a:lnTo>
                  <a:lnTo>
                    <a:pt x="1158" y="2283"/>
                  </a:lnTo>
                  <a:lnTo>
                    <a:pt x="1147" y="2282"/>
                  </a:lnTo>
                  <a:lnTo>
                    <a:pt x="1147" y="2282"/>
                  </a:lnTo>
                  <a:lnTo>
                    <a:pt x="1122" y="2283"/>
                  </a:lnTo>
                  <a:lnTo>
                    <a:pt x="1098" y="2283"/>
                  </a:lnTo>
                  <a:lnTo>
                    <a:pt x="1049" y="2282"/>
                  </a:lnTo>
                  <a:lnTo>
                    <a:pt x="999" y="2277"/>
                  </a:lnTo>
                  <a:lnTo>
                    <a:pt x="951" y="2274"/>
                  </a:lnTo>
                  <a:lnTo>
                    <a:pt x="951" y="2274"/>
                  </a:lnTo>
                  <a:lnTo>
                    <a:pt x="935" y="2273"/>
                  </a:lnTo>
                  <a:lnTo>
                    <a:pt x="919" y="2270"/>
                  </a:lnTo>
                  <a:lnTo>
                    <a:pt x="904" y="2267"/>
                  </a:lnTo>
                  <a:lnTo>
                    <a:pt x="889" y="2262"/>
                  </a:lnTo>
                  <a:lnTo>
                    <a:pt x="861" y="2250"/>
                  </a:lnTo>
                  <a:lnTo>
                    <a:pt x="832" y="2238"/>
                  </a:lnTo>
                  <a:lnTo>
                    <a:pt x="832" y="2238"/>
                  </a:lnTo>
                  <a:lnTo>
                    <a:pt x="821" y="2235"/>
                  </a:lnTo>
                  <a:lnTo>
                    <a:pt x="812" y="2229"/>
                  </a:lnTo>
                  <a:lnTo>
                    <a:pt x="796" y="2217"/>
                  </a:lnTo>
                  <a:lnTo>
                    <a:pt x="781" y="2203"/>
                  </a:lnTo>
                  <a:lnTo>
                    <a:pt x="764" y="2191"/>
                  </a:lnTo>
                  <a:lnTo>
                    <a:pt x="764" y="2191"/>
                  </a:lnTo>
                  <a:lnTo>
                    <a:pt x="758" y="2185"/>
                  </a:lnTo>
                  <a:lnTo>
                    <a:pt x="755" y="2179"/>
                  </a:lnTo>
                  <a:lnTo>
                    <a:pt x="753" y="2166"/>
                  </a:lnTo>
                  <a:lnTo>
                    <a:pt x="753" y="2166"/>
                  </a:lnTo>
                  <a:lnTo>
                    <a:pt x="752" y="2155"/>
                  </a:lnTo>
                  <a:lnTo>
                    <a:pt x="750" y="2150"/>
                  </a:lnTo>
                  <a:lnTo>
                    <a:pt x="749" y="2147"/>
                  </a:lnTo>
                  <a:lnTo>
                    <a:pt x="746" y="2144"/>
                  </a:lnTo>
                  <a:lnTo>
                    <a:pt x="743" y="2143"/>
                  </a:lnTo>
                  <a:lnTo>
                    <a:pt x="737" y="2143"/>
                  </a:lnTo>
                  <a:lnTo>
                    <a:pt x="729" y="2143"/>
                  </a:lnTo>
                  <a:lnTo>
                    <a:pt x="729" y="2143"/>
                  </a:lnTo>
                  <a:lnTo>
                    <a:pt x="723" y="2143"/>
                  </a:lnTo>
                  <a:lnTo>
                    <a:pt x="714" y="2140"/>
                  </a:lnTo>
                  <a:lnTo>
                    <a:pt x="707" y="2135"/>
                  </a:lnTo>
                  <a:lnTo>
                    <a:pt x="700" y="2131"/>
                  </a:lnTo>
                  <a:lnTo>
                    <a:pt x="700" y="2131"/>
                  </a:lnTo>
                  <a:lnTo>
                    <a:pt x="685" y="2122"/>
                  </a:lnTo>
                  <a:lnTo>
                    <a:pt x="670" y="2113"/>
                  </a:lnTo>
                  <a:lnTo>
                    <a:pt x="655" y="2105"/>
                  </a:lnTo>
                  <a:lnTo>
                    <a:pt x="649" y="2099"/>
                  </a:lnTo>
                  <a:lnTo>
                    <a:pt x="643" y="2095"/>
                  </a:lnTo>
                  <a:lnTo>
                    <a:pt x="643" y="2095"/>
                  </a:lnTo>
                  <a:lnTo>
                    <a:pt x="640" y="2092"/>
                  </a:lnTo>
                  <a:lnTo>
                    <a:pt x="637" y="2092"/>
                  </a:lnTo>
                  <a:lnTo>
                    <a:pt x="631" y="2092"/>
                  </a:lnTo>
                  <a:lnTo>
                    <a:pt x="627" y="2096"/>
                  </a:lnTo>
                  <a:lnTo>
                    <a:pt x="623" y="2099"/>
                  </a:lnTo>
                  <a:lnTo>
                    <a:pt x="623" y="2099"/>
                  </a:lnTo>
                  <a:lnTo>
                    <a:pt x="616" y="2110"/>
                  </a:lnTo>
                  <a:lnTo>
                    <a:pt x="607" y="2117"/>
                  </a:lnTo>
                  <a:lnTo>
                    <a:pt x="598" y="2123"/>
                  </a:lnTo>
                  <a:lnTo>
                    <a:pt x="587" y="2125"/>
                  </a:lnTo>
                  <a:lnTo>
                    <a:pt x="577" y="2126"/>
                  </a:lnTo>
                  <a:lnTo>
                    <a:pt x="565" y="2125"/>
                  </a:lnTo>
                  <a:lnTo>
                    <a:pt x="542" y="2120"/>
                  </a:lnTo>
                  <a:lnTo>
                    <a:pt x="542" y="2120"/>
                  </a:lnTo>
                  <a:lnTo>
                    <a:pt x="522" y="2116"/>
                  </a:lnTo>
                  <a:lnTo>
                    <a:pt x="501" y="2111"/>
                  </a:lnTo>
                  <a:lnTo>
                    <a:pt x="482" y="2104"/>
                  </a:lnTo>
                  <a:lnTo>
                    <a:pt x="473" y="2099"/>
                  </a:lnTo>
                  <a:lnTo>
                    <a:pt x="463" y="2093"/>
                  </a:lnTo>
                  <a:lnTo>
                    <a:pt x="463" y="2093"/>
                  </a:lnTo>
                  <a:lnTo>
                    <a:pt x="460" y="2090"/>
                  </a:lnTo>
                  <a:lnTo>
                    <a:pt x="460" y="2090"/>
                  </a:lnTo>
                  <a:lnTo>
                    <a:pt x="451" y="2081"/>
                  </a:lnTo>
                  <a:lnTo>
                    <a:pt x="441" y="2072"/>
                  </a:lnTo>
                  <a:lnTo>
                    <a:pt x="430" y="2066"/>
                  </a:lnTo>
                  <a:lnTo>
                    <a:pt x="420" y="2061"/>
                  </a:lnTo>
                  <a:lnTo>
                    <a:pt x="408" y="2057"/>
                  </a:lnTo>
                  <a:lnTo>
                    <a:pt x="396" y="2054"/>
                  </a:lnTo>
                  <a:lnTo>
                    <a:pt x="370" y="2049"/>
                  </a:lnTo>
                  <a:lnTo>
                    <a:pt x="370" y="2049"/>
                  </a:lnTo>
                  <a:lnTo>
                    <a:pt x="362" y="2048"/>
                  </a:lnTo>
                  <a:lnTo>
                    <a:pt x="355" y="2045"/>
                  </a:lnTo>
                  <a:lnTo>
                    <a:pt x="347" y="2040"/>
                  </a:lnTo>
                  <a:lnTo>
                    <a:pt x="343" y="2034"/>
                  </a:lnTo>
                  <a:lnTo>
                    <a:pt x="338" y="2028"/>
                  </a:lnTo>
                  <a:lnTo>
                    <a:pt x="334" y="2022"/>
                  </a:lnTo>
                  <a:lnTo>
                    <a:pt x="328" y="2007"/>
                  </a:lnTo>
                  <a:lnTo>
                    <a:pt x="328" y="2007"/>
                  </a:lnTo>
                  <a:lnTo>
                    <a:pt x="325" y="1999"/>
                  </a:lnTo>
                  <a:lnTo>
                    <a:pt x="319" y="1993"/>
                  </a:lnTo>
                  <a:lnTo>
                    <a:pt x="312" y="1992"/>
                  </a:lnTo>
                  <a:lnTo>
                    <a:pt x="303" y="1990"/>
                  </a:lnTo>
                  <a:lnTo>
                    <a:pt x="303" y="1990"/>
                  </a:lnTo>
                  <a:lnTo>
                    <a:pt x="287" y="1989"/>
                  </a:lnTo>
                  <a:lnTo>
                    <a:pt x="272" y="1986"/>
                  </a:lnTo>
                  <a:lnTo>
                    <a:pt x="255" y="1981"/>
                  </a:lnTo>
                  <a:lnTo>
                    <a:pt x="240" y="1972"/>
                  </a:lnTo>
                  <a:lnTo>
                    <a:pt x="240" y="1972"/>
                  </a:lnTo>
                  <a:lnTo>
                    <a:pt x="228" y="1966"/>
                  </a:lnTo>
                  <a:lnTo>
                    <a:pt x="216" y="1960"/>
                  </a:lnTo>
                  <a:lnTo>
                    <a:pt x="202" y="1956"/>
                  </a:lnTo>
                  <a:lnTo>
                    <a:pt x="187" y="1954"/>
                  </a:lnTo>
                  <a:lnTo>
                    <a:pt x="187" y="1954"/>
                  </a:lnTo>
                  <a:lnTo>
                    <a:pt x="174" y="1953"/>
                  </a:lnTo>
                  <a:lnTo>
                    <a:pt x="160" y="1948"/>
                  </a:lnTo>
                  <a:lnTo>
                    <a:pt x="149" y="1941"/>
                  </a:lnTo>
                  <a:lnTo>
                    <a:pt x="139" y="1930"/>
                  </a:lnTo>
                  <a:lnTo>
                    <a:pt x="139" y="1930"/>
                  </a:lnTo>
                  <a:lnTo>
                    <a:pt x="136" y="1928"/>
                  </a:lnTo>
                  <a:lnTo>
                    <a:pt x="133" y="1927"/>
                  </a:lnTo>
                  <a:lnTo>
                    <a:pt x="133" y="1927"/>
                  </a:ln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  <p:sp>
          <p:nvSpPr>
            <p:cNvPr id="18" name="Freeform 13">
              <a:extLst>
                <a:ext uri="{FF2B5EF4-FFF2-40B4-BE49-F238E27FC236}">
                  <a16:creationId xmlns:a16="http://schemas.microsoft.com/office/drawing/2014/main" id="{D4F17323-B541-42EF-8457-FAAA8AC0F430}"/>
                </a:ext>
              </a:extLst>
            </p:cNvPr>
            <p:cNvSpPr>
              <a:spLocks/>
            </p:cNvSpPr>
            <p:nvPr/>
          </p:nvSpPr>
          <p:spPr bwMode="auto">
            <a:xfrm>
              <a:off x="3838" y="1943"/>
              <a:ext cx="978" cy="743"/>
            </a:xfrm>
            <a:custGeom>
              <a:avLst/>
              <a:gdLst>
                <a:gd name="T0" fmla="*/ 1548 w 1957"/>
                <a:gd name="T1" fmla="*/ 1312 h 1486"/>
                <a:gd name="T2" fmla="*/ 1456 w 1957"/>
                <a:gd name="T3" fmla="*/ 1056 h 1486"/>
                <a:gd name="T4" fmla="*/ 1424 w 1957"/>
                <a:gd name="T5" fmla="*/ 924 h 1486"/>
                <a:gd name="T6" fmla="*/ 1376 w 1957"/>
                <a:gd name="T7" fmla="*/ 837 h 1486"/>
                <a:gd name="T8" fmla="*/ 1330 w 1957"/>
                <a:gd name="T9" fmla="*/ 935 h 1486"/>
                <a:gd name="T10" fmla="*/ 1259 w 1957"/>
                <a:gd name="T11" fmla="*/ 1104 h 1486"/>
                <a:gd name="T12" fmla="*/ 1179 w 1957"/>
                <a:gd name="T13" fmla="*/ 1139 h 1486"/>
                <a:gd name="T14" fmla="*/ 1122 w 1957"/>
                <a:gd name="T15" fmla="*/ 1092 h 1486"/>
                <a:gd name="T16" fmla="*/ 1069 w 1957"/>
                <a:gd name="T17" fmla="*/ 1134 h 1486"/>
                <a:gd name="T18" fmla="*/ 1045 w 1957"/>
                <a:gd name="T19" fmla="*/ 1248 h 1486"/>
                <a:gd name="T20" fmla="*/ 903 w 1957"/>
                <a:gd name="T21" fmla="*/ 1128 h 1486"/>
                <a:gd name="T22" fmla="*/ 829 w 1957"/>
                <a:gd name="T23" fmla="*/ 992 h 1486"/>
                <a:gd name="T24" fmla="*/ 735 w 1957"/>
                <a:gd name="T25" fmla="*/ 856 h 1486"/>
                <a:gd name="T26" fmla="*/ 604 w 1957"/>
                <a:gd name="T27" fmla="*/ 734 h 1486"/>
                <a:gd name="T28" fmla="*/ 518 w 1957"/>
                <a:gd name="T29" fmla="*/ 645 h 1486"/>
                <a:gd name="T30" fmla="*/ 370 w 1957"/>
                <a:gd name="T31" fmla="*/ 498 h 1486"/>
                <a:gd name="T32" fmla="*/ 190 w 1957"/>
                <a:gd name="T33" fmla="*/ 284 h 1486"/>
                <a:gd name="T34" fmla="*/ 92 w 1957"/>
                <a:gd name="T35" fmla="*/ 213 h 1486"/>
                <a:gd name="T36" fmla="*/ 70 w 1957"/>
                <a:gd name="T37" fmla="*/ 155 h 1486"/>
                <a:gd name="T38" fmla="*/ 5 w 1957"/>
                <a:gd name="T39" fmla="*/ 71 h 1486"/>
                <a:gd name="T40" fmla="*/ 53 w 1957"/>
                <a:gd name="T41" fmla="*/ 0 h 1486"/>
                <a:gd name="T42" fmla="*/ 329 w 1957"/>
                <a:gd name="T43" fmla="*/ 91 h 1486"/>
                <a:gd name="T44" fmla="*/ 456 w 1957"/>
                <a:gd name="T45" fmla="*/ 146 h 1486"/>
                <a:gd name="T46" fmla="*/ 524 w 1957"/>
                <a:gd name="T47" fmla="*/ 214 h 1486"/>
                <a:gd name="T48" fmla="*/ 586 w 1957"/>
                <a:gd name="T49" fmla="*/ 243 h 1486"/>
                <a:gd name="T50" fmla="*/ 732 w 1957"/>
                <a:gd name="T51" fmla="*/ 233 h 1486"/>
                <a:gd name="T52" fmla="*/ 775 w 1957"/>
                <a:gd name="T53" fmla="*/ 160 h 1486"/>
                <a:gd name="T54" fmla="*/ 855 w 1957"/>
                <a:gd name="T55" fmla="*/ 183 h 1486"/>
                <a:gd name="T56" fmla="*/ 852 w 1957"/>
                <a:gd name="T57" fmla="*/ 264 h 1486"/>
                <a:gd name="T58" fmla="*/ 843 w 1957"/>
                <a:gd name="T59" fmla="*/ 337 h 1486"/>
                <a:gd name="T60" fmla="*/ 760 w 1957"/>
                <a:gd name="T61" fmla="*/ 384 h 1486"/>
                <a:gd name="T62" fmla="*/ 737 w 1957"/>
                <a:gd name="T63" fmla="*/ 436 h 1486"/>
                <a:gd name="T64" fmla="*/ 823 w 1957"/>
                <a:gd name="T65" fmla="*/ 456 h 1486"/>
                <a:gd name="T66" fmla="*/ 909 w 1957"/>
                <a:gd name="T67" fmla="*/ 592 h 1486"/>
                <a:gd name="T68" fmla="*/ 963 w 1957"/>
                <a:gd name="T69" fmla="*/ 645 h 1486"/>
                <a:gd name="T70" fmla="*/ 1040 w 1957"/>
                <a:gd name="T71" fmla="*/ 622 h 1486"/>
                <a:gd name="T72" fmla="*/ 1137 w 1957"/>
                <a:gd name="T73" fmla="*/ 600 h 1486"/>
                <a:gd name="T74" fmla="*/ 1107 w 1957"/>
                <a:gd name="T75" fmla="*/ 569 h 1486"/>
                <a:gd name="T76" fmla="*/ 1126 w 1957"/>
                <a:gd name="T77" fmla="*/ 513 h 1486"/>
                <a:gd name="T78" fmla="*/ 1205 w 1957"/>
                <a:gd name="T79" fmla="*/ 600 h 1486"/>
                <a:gd name="T80" fmla="*/ 1259 w 1957"/>
                <a:gd name="T81" fmla="*/ 603 h 1486"/>
                <a:gd name="T82" fmla="*/ 1312 w 1957"/>
                <a:gd name="T83" fmla="*/ 639 h 1486"/>
                <a:gd name="T84" fmla="*/ 1377 w 1957"/>
                <a:gd name="T85" fmla="*/ 669 h 1486"/>
                <a:gd name="T86" fmla="*/ 1413 w 1957"/>
                <a:gd name="T87" fmla="*/ 695 h 1486"/>
                <a:gd name="T88" fmla="*/ 1424 w 1957"/>
                <a:gd name="T89" fmla="*/ 668 h 1486"/>
                <a:gd name="T90" fmla="*/ 1599 w 1957"/>
                <a:gd name="T91" fmla="*/ 728 h 1486"/>
                <a:gd name="T92" fmla="*/ 1622 w 1957"/>
                <a:gd name="T93" fmla="*/ 686 h 1486"/>
                <a:gd name="T94" fmla="*/ 1652 w 1957"/>
                <a:gd name="T95" fmla="*/ 757 h 1486"/>
                <a:gd name="T96" fmla="*/ 1662 w 1957"/>
                <a:gd name="T97" fmla="*/ 834 h 1486"/>
                <a:gd name="T98" fmla="*/ 1751 w 1957"/>
                <a:gd name="T99" fmla="*/ 995 h 1486"/>
                <a:gd name="T100" fmla="*/ 1812 w 1957"/>
                <a:gd name="T101" fmla="*/ 1036 h 1486"/>
                <a:gd name="T102" fmla="*/ 1898 w 1957"/>
                <a:gd name="T103" fmla="*/ 1047 h 1486"/>
                <a:gd name="T104" fmla="*/ 1949 w 1957"/>
                <a:gd name="T105" fmla="*/ 1210 h 1486"/>
                <a:gd name="T106" fmla="*/ 1946 w 1957"/>
                <a:gd name="T107" fmla="*/ 1269 h 1486"/>
                <a:gd name="T108" fmla="*/ 1877 w 1957"/>
                <a:gd name="T109" fmla="*/ 1312 h 1486"/>
                <a:gd name="T110" fmla="*/ 1782 w 1957"/>
                <a:gd name="T111" fmla="*/ 1308 h 1486"/>
                <a:gd name="T112" fmla="*/ 1705 w 1957"/>
                <a:gd name="T113" fmla="*/ 1308 h 1486"/>
                <a:gd name="T114" fmla="*/ 1664 w 1957"/>
                <a:gd name="T115" fmla="*/ 1352 h 1486"/>
                <a:gd name="T116" fmla="*/ 1608 w 1957"/>
                <a:gd name="T117" fmla="*/ 1445 h 1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957" h="1486">
                  <a:moveTo>
                    <a:pt x="1558" y="1486"/>
                  </a:moveTo>
                  <a:lnTo>
                    <a:pt x="1558" y="1486"/>
                  </a:lnTo>
                  <a:lnTo>
                    <a:pt x="1564" y="1474"/>
                  </a:lnTo>
                  <a:lnTo>
                    <a:pt x="1567" y="1462"/>
                  </a:lnTo>
                  <a:lnTo>
                    <a:pt x="1569" y="1448"/>
                  </a:lnTo>
                  <a:lnTo>
                    <a:pt x="1569" y="1436"/>
                  </a:lnTo>
                  <a:lnTo>
                    <a:pt x="1569" y="1411"/>
                  </a:lnTo>
                  <a:lnTo>
                    <a:pt x="1566" y="1385"/>
                  </a:lnTo>
                  <a:lnTo>
                    <a:pt x="1566" y="1385"/>
                  </a:lnTo>
                  <a:lnTo>
                    <a:pt x="1564" y="1365"/>
                  </a:lnTo>
                  <a:lnTo>
                    <a:pt x="1560" y="1349"/>
                  </a:lnTo>
                  <a:lnTo>
                    <a:pt x="1554" y="1331"/>
                  </a:lnTo>
                  <a:lnTo>
                    <a:pt x="1548" y="1312"/>
                  </a:lnTo>
                  <a:lnTo>
                    <a:pt x="1548" y="1312"/>
                  </a:lnTo>
                  <a:lnTo>
                    <a:pt x="1540" y="1297"/>
                  </a:lnTo>
                  <a:lnTo>
                    <a:pt x="1534" y="1281"/>
                  </a:lnTo>
                  <a:lnTo>
                    <a:pt x="1527" y="1248"/>
                  </a:lnTo>
                  <a:lnTo>
                    <a:pt x="1519" y="1214"/>
                  </a:lnTo>
                  <a:lnTo>
                    <a:pt x="1514" y="1181"/>
                  </a:lnTo>
                  <a:lnTo>
                    <a:pt x="1514" y="1181"/>
                  </a:lnTo>
                  <a:lnTo>
                    <a:pt x="1513" y="1169"/>
                  </a:lnTo>
                  <a:lnTo>
                    <a:pt x="1508" y="1157"/>
                  </a:lnTo>
                  <a:lnTo>
                    <a:pt x="1499" y="1137"/>
                  </a:lnTo>
                  <a:lnTo>
                    <a:pt x="1487" y="1116"/>
                  </a:lnTo>
                  <a:lnTo>
                    <a:pt x="1478" y="1095"/>
                  </a:lnTo>
                  <a:lnTo>
                    <a:pt x="1478" y="1095"/>
                  </a:lnTo>
                  <a:lnTo>
                    <a:pt x="1468" y="1075"/>
                  </a:lnTo>
                  <a:lnTo>
                    <a:pt x="1456" y="1056"/>
                  </a:lnTo>
                  <a:lnTo>
                    <a:pt x="1430" y="1018"/>
                  </a:lnTo>
                  <a:lnTo>
                    <a:pt x="1430" y="1018"/>
                  </a:lnTo>
                  <a:lnTo>
                    <a:pt x="1427" y="1012"/>
                  </a:lnTo>
                  <a:lnTo>
                    <a:pt x="1425" y="1007"/>
                  </a:lnTo>
                  <a:lnTo>
                    <a:pt x="1425" y="1001"/>
                  </a:lnTo>
                  <a:lnTo>
                    <a:pt x="1427" y="995"/>
                  </a:lnTo>
                  <a:lnTo>
                    <a:pt x="1427" y="995"/>
                  </a:lnTo>
                  <a:lnTo>
                    <a:pt x="1430" y="988"/>
                  </a:lnTo>
                  <a:lnTo>
                    <a:pt x="1431" y="980"/>
                  </a:lnTo>
                  <a:lnTo>
                    <a:pt x="1431" y="965"/>
                  </a:lnTo>
                  <a:lnTo>
                    <a:pt x="1430" y="950"/>
                  </a:lnTo>
                  <a:lnTo>
                    <a:pt x="1425" y="935"/>
                  </a:lnTo>
                  <a:lnTo>
                    <a:pt x="1425" y="935"/>
                  </a:lnTo>
                  <a:lnTo>
                    <a:pt x="1424" y="924"/>
                  </a:lnTo>
                  <a:lnTo>
                    <a:pt x="1422" y="914"/>
                  </a:lnTo>
                  <a:lnTo>
                    <a:pt x="1422" y="902"/>
                  </a:lnTo>
                  <a:lnTo>
                    <a:pt x="1424" y="891"/>
                  </a:lnTo>
                  <a:lnTo>
                    <a:pt x="1424" y="891"/>
                  </a:lnTo>
                  <a:lnTo>
                    <a:pt x="1425" y="880"/>
                  </a:lnTo>
                  <a:lnTo>
                    <a:pt x="1424" y="873"/>
                  </a:lnTo>
                  <a:lnTo>
                    <a:pt x="1421" y="864"/>
                  </a:lnTo>
                  <a:lnTo>
                    <a:pt x="1416" y="858"/>
                  </a:lnTo>
                  <a:lnTo>
                    <a:pt x="1409" y="852"/>
                  </a:lnTo>
                  <a:lnTo>
                    <a:pt x="1401" y="846"/>
                  </a:lnTo>
                  <a:lnTo>
                    <a:pt x="1392" y="841"/>
                  </a:lnTo>
                  <a:lnTo>
                    <a:pt x="1382" y="838"/>
                  </a:lnTo>
                  <a:lnTo>
                    <a:pt x="1382" y="838"/>
                  </a:lnTo>
                  <a:lnTo>
                    <a:pt x="1376" y="837"/>
                  </a:lnTo>
                  <a:lnTo>
                    <a:pt x="1369" y="837"/>
                  </a:lnTo>
                  <a:lnTo>
                    <a:pt x="1362" y="838"/>
                  </a:lnTo>
                  <a:lnTo>
                    <a:pt x="1357" y="841"/>
                  </a:lnTo>
                  <a:lnTo>
                    <a:pt x="1351" y="846"/>
                  </a:lnTo>
                  <a:lnTo>
                    <a:pt x="1347" y="852"/>
                  </a:lnTo>
                  <a:lnTo>
                    <a:pt x="1342" y="859"/>
                  </a:lnTo>
                  <a:lnTo>
                    <a:pt x="1339" y="867"/>
                  </a:lnTo>
                  <a:lnTo>
                    <a:pt x="1339" y="867"/>
                  </a:lnTo>
                  <a:lnTo>
                    <a:pt x="1333" y="882"/>
                  </a:lnTo>
                  <a:lnTo>
                    <a:pt x="1330" y="897"/>
                  </a:lnTo>
                  <a:lnTo>
                    <a:pt x="1329" y="912"/>
                  </a:lnTo>
                  <a:lnTo>
                    <a:pt x="1330" y="929"/>
                  </a:lnTo>
                  <a:lnTo>
                    <a:pt x="1330" y="929"/>
                  </a:lnTo>
                  <a:lnTo>
                    <a:pt x="1330" y="935"/>
                  </a:lnTo>
                  <a:lnTo>
                    <a:pt x="1329" y="939"/>
                  </a:lnTo>
                  <a:lnTo>
                    <a:pt x="1323" y="948"/>
                  </a:lnTo>
                  <a:lnTo>
                    <a:pt x="1323" y="948"/>
                  </a:lnTo>
                  <a:lnTo>
                    <a:pt x="1308" y="976"/>
                  </a:lnTo>
                  <a:lnTo>
                    <a:pt x="1296" y="1003"/>
                  </a:lnTo>
                  <a:lnTo>
                    <a:pt x="1282" y="1030"/>
                  </a:lnTo>
                  <a:lnTo>
                    <a:pt x="1268" y="1056"/>
                  </a:lnTo>
                  <a:lnTo>
                    <a:pt x="1268" y="1056"/>
                  </a:lnTo>
                  <a:lnTo>
                    <a:pt x="1267" y="1062"/>
                  </a:lnTo>
                  <a:lnTo>
                    <a:pt x="1265" y="1068"/>
                  </a:lnTo>
                  <a:lnTo>
                    <a:pt x="1265" y="1081"/>
                  </a:lnTo>
                  <a:lnTo>
                    <a:pt x="1265" y="1081"/>
                  </a:lnTo>
                  <a:lnTo>
                    <a:pt x="1262" y="1092"/>
                  </a:lnTo>
                  <a:lnTo>
                    <a:pt x="1259" y="1104"/>
                  </a:lnTo>
                  <a:lnTo>
                    <a:pt x="1256" y="1115"/>
                  </a:lnTo>
                  <a:lnTo>
                    <a:pt x="1252" y="1124"/>
                  </a:lnTo>
                  <a:lnTo>
                    <a:pt x="1244" y="1133"/>
                  </a:lnTo>
                  <a:lnTo>
                    <a:pt x="1237" y="1142"/>
                  </a:lnTo>
                  <a:lnTo>
                    <a:pt x="1228" y="1148"/>
                  </a:lnTo>
                  <a:lnTo>
                    <a:pt x="1217" y="1154"/>
                  </a:lnTo>
                  <a:lnTo>
                    <a:pt x="1217" y="1154"/>
                  </a:lnTo>
                  <a:lnTo>
                    <a:pt x="1211" y="1157"/>
                  </a:lnTo>
                  <a:lnTo>
                    <a:pt x="1205" y="1157"/>
                  </a:lnTo>
                  <a:lnTo>
                    <a:pt x="1200" y="1155"/>
                  </a:lnTo>
                  <a:lnTo>
                    <a:pt x="1196" y="1151"/>
                  </a:lnTo>
                  <a:lnTo>
                    <a:pt x="1196" y="1151"/>
                  </a:lnTo>
                  <a:lnTo>
                    <a:pt x="1188" y="1143"/>
                  </a:lnTo>
                  <a:lnTo>
                    <a:pt x="1179" y="1139"/>
                  </a:lnTo>
                  <a:lnTo>
                    <a:pt x="1169" y="1137"/>
                  </a:lnTo>
                  <a:lnTo>
                    <a:pt x="1160" y="1140"/>
                  </a:lnTo>
                  <a:lnTo>
                    <a:pt x="1160" y="1140"/>
                  </a:lnTo>
                  <a:lnTo>
                    <a:pt x="1155" y="1140"/>
                  </a:lnTo>
                  <a:lnTo>
                    <a:pt x="1152" y="1140"/>
                  </a:lnTo>
                  <a:lnTo>
                    <a:pt x="1149" y="1139"/>
                  </a:lnTo>
                  <a:lnTo>
                    <a:pt x="1148" y="1134"/>
                  </a:lnTo>
                  <a:lnTo>
                    <a:pt x="1148" y="1134"/>
                  </a:lnTo>
                  <a:lnTo>
                    <a:pt x="1142" y="1121"/>
                  </a:lnTo>
                  <a:lnTo>
                    <a:pt x="1134" y="1107"/>
                  </a:lnTo>
                  <a:lnTo>
                    <a:pt x="1134" y="1107"/>
                  </a:lnTo>
                  <a:lnTo>
                    <a:pt x="1131" y="1101"/>
                  </a:lnTo>
                  <a:lnTo>
                    <a:pt x="1126" y="1096"/>
                  </a:lnTo>
                  <a:lnTo>
                    <a:pt x="1122" y="1092"/>
                  </a:lnTo>
                  <a:lnTo>
                    <a:pt x="1116" y="1090"/>
                  </a:lnTo>
                  <a:lnTo>
                    <a:pt x="1110" y="1089"/>
                  </a:lnTo>
                  <a:lnTo>
                    <a:pt x="1104" y="1087"/>
                  </a:lnTo>
                  <a:lnTo>
                    <a:pt x="1096" y="1089"/>
                  </a:lnTo>
                  <a:lnTo>
                    <a:pt x="1090" y="1090"/>
                  </a:lnTo>
                  <a:lnTo>
                    <a:pt x="1090" y="1090"/>
                  </a:lnTo>
                  <a:lnTo>
                    <a:pt x="1084" y="1093"/>
                  </a:lnTo>
                  <a:lnTo>
                    <a:pt x="1080" y="1098"/>
                  </a:lnTo>
                  <a:lnTo>
                    <a:pt x="1075" y="1103"/>
                  </a:lnTo>
                  <a:lnTo>
                    <a:pt x="1072" y="1107"/>
                  </a:lnTo>
                  <a:lnTo>
                    <a:pt x="1071" y="1113"/>
                  </a:lnTo>
                  <a:lnTo>
                    <a:pt x="1069" y="1121"/>
                  </a:lnTo>
                  <a:lnTo>
                    <a:pt x="1069" y="1134"/>
                  </a:lnTo>
                  <a:lnTo>
                    <a:pt x="1069" y="1134"/>
                  </a:lnTo>
                  <a:lnTo>
                    <a:pt x="1074" y="1161"/>
                  </a:lnTo>
                  <a:lnTo>
                    <a:pt x="1078" y="1189"/>
                  </a:lnTo>
                  <a:lnTo>
                    <a:pt x="1083" y="1216"/>
                  </a:lnTo>
                  <a:lnTo>
                    <a:pt x="1084" y="1229"/>
                  </a:lnTo>
                  <a:lnTo>
                    <a:pt x="1084" y="1243"/>
                  </a:lnTo>
                  <a:lnTo>
                    <a:pt x="1084" y="1243"/>
                  </a:lnTo>
                  <a:lnTo>
                    <a:pt x="1083" y="1254"/>
                  </a:lnTo>
                  <a:lnTo>
                    <a:pt x="1081" y="1258"/>
                  </a:lnTo>
                  <a:lnTo>
                    <a:pt x="1078" y="1260"/>
                  </a:lnTo>
                  <a:lnTo>
                    <a:pt x="1075" y="1261"/>
                  </a:lnTo>
                  <a:lnTo>
                    <a:pt x="1072" y="1261"/>
                  </a:lnTo>
                  <a:lnTo>
                    <a:pt x="1060" y="1257"/>
                  </a:lnTo>
                  <a:lnTo>
                    <a:pt x="1060" y="1257"/>
                  </a:lnTo>
                  <a:lnTo>
                    <a:pt x="1045" y="1248"/>
                  </a:lnTo>
                  <a:lnTo>
                    <a:pt x="1031" y="1238"/>
                  </a:lnTo>
                  <a:lnTo>
                    <a:pt x="1018" y="1228"/>
                  </a:lnTo>
                  <a:lnTo>
                    <a:pt x="1012" y="1220"/>
                  </a:lnTo>
                  <a:lnTo>
                    <a:pt x="1007" y="1213"/>
                  </a:lnTo>
                  <a:lnTo>
                    <a:pt x="1007" y="1213"/>
                  </a:lnTo>
                  <a:lnTo>
                    <a:pt x="1000" y="1202"/>
                  </a:lnTo>
                  <a:lnTo>
                    <a:pt x="992" y="1192"/>
                  </a:lnTo>
                  <a:lnTo>
                    <a:pt x="981" y="1181"/>
                  </a:lnTo>
                  <a:lnTo>
                    <a:pt x="972" y="1174"/>
                  </a:lnTo>
                  <a:lnTo>
                    <a:pt x="950" y="1158"/>
                  </a:lnTo>
                  <a:lnTo>
                    <a:pt x="927" y="1145"/>
                  </a:lnTo>
                  <a:lnTo>
                    <a:pt x="927" y="1145"/>
                  </a:lnTo>
                  <a:lnTo>
                    <a:pt x="911" y="1134"/>
                  </a:lnTo>
                  <a:lnTo>
                    <a:pt x="903" y="1128"/>
                  </a:lnTo>
                  <a:lnTo>
                    <a:pt x="895" y="1122"/>
                  </a:lnTo>
                  <a:lnTo>
                    <a:pt x="889" y="1115"/>
                  </a:lnTo>
                  <a:lnTo>
                    <a:pt x="885" y="1107"/>
                  </a:lnTo>
                  <a:lnTo>
                    <a:pt x="880" y="1098"/>
                  </a:lnTo>
                  <a:lnTo>
                    <a:pt x="879" y="1089"/>
                  </a:lnTo>
                  <a:lnTo>
                    <a:pt x="879" y="1089"/>
                  </a:lnTo>
                  <a:lnTo>
                    <a:pt x="877" y="1084"/>
                  </a:lnTo>
                  <a:lnTo>
                    <a:pt x="876" y="1081"/>
                  </a:lnTo>
                  <a:lnTo>
                    <a:pt x="870" y="1077"/>
                  </a:lnTo>
                  <a:lnTo>
                    <a:pt x="865" y="1071"/>
                  </a:lnTo>
                  <a:lnTo>
                    <a:pt x="861" y="1065"/>
                  </a:lnTo>
                  <a:lnTo>
                    <a:pt x="861" y="1065"/>
                  </a:lnTo>
                  <a:lnTo>
                    <a:pt x="829" y="992"/>
                  </a:lnTo>
                  <a:lnTo>
                    <a:pt x="829" y="992"/>
                  </a:lnTo>
                  <a:lnTo>
                    <a:pt x="827" y="988"/>
                  </a:lnTo>
                  <a:lnTo>
                    <a:pt x="826" y="983"/>
                  </a:lnTo>
                  <a:lnTo>
                    <a:pt x="826" y="983"/>
                  </a:lnTo>
                  <a:lnTo>
                    <a:pt x="817" y="977"/>
                  </a:lnTo>
                  <a:lnTo>
                    <a:pt x="809" y="968"/>
                  </a:lnTo>
                  <a:lnTo>
                    <a:pt x="803" y="959"/>
                  </a:lnTo>
                  <a:lnTo>
                    <a:pt x="799" y="950"/>
                  </a:lnTo>
                  <a:lnTo>
                    <a:pt x="788" y="930"/>
                  </a:lnTo>
                  <a:lnTo>
                    <a:pt x="782" y="921"/>
                  </a:lnTo>
                  <a:lnTo>
                    <a:pt x="775" y="912"/>
                  </a:lnTo>
                  <a:lnTo>
                    <a:pt x="775" y="912"/>
                  </a:lnTo>
                  <a:lnTo>
                    <a:pt x="760" y="896"/>
                  </a:lnTo>
                  <a:lnTo>
                    <a:pt x="746" y="877"/>
                  </a:lnTo>
                  <a:lnTo>
                    <a:pt x="735" y="856"/>
                  </a:lnTo>
                  <a:lnTo>
                    <a:pt x="725" y="835"/>
                  </a:lnTo>
                  <a:lnTo>
                    <a:pt x="725" y="835"/>
                  </a:lnTo>
                  <a:lnTo>
                    <a:pt x="720" y="825"/>
                  </a:lnTo>
                  <a:lnTo>
                    <a:pt x="713" y="816"/>
                  </a:lnTo>
                  <a:lnTo>
                    <a:pt x="705" y="806"/>
                  </a:lnTo>
                  <a:lnTo>
                    <a:pt x="696" y="799"/>
                  </a:lnTo>
                  <a:lnTo>
                    <a:pt x="678" y="785"/>
                  </a:lnTo>
                  <a:lnTo>
                    <a:pt x="660" y="772"/>
                  </a:lnTo>
                  <a:lnTo>
                    <a:pt x="660" y="772"/>
                  </a:lnTo>
                  <a:lnTo>
                    <a:pt x="640" y="760"/>
                  </a:lnTo>
                  <a:lnTo>
                    <a:pt x="621" y="748"/>
                  </a:lnTo>
                  <a:lnTo>
                    <a:pt x="621" y="748"/>
                  </a:lnTo>
                  <a:lnTo>
                    <a:pt x="612" y="742"/>
                  </a:lnTo>
                  <a:lnTo>
                    <a:pt x="604" y="734"/>
                  </a:lnTo>
                  <a:lnTo>
                    <a:pt x="596" y="726"/>
                  </a:lnTo>
                  <a:lnTo>
                    <a:pt x="592" y="717"/>
                  </a:lnTo>
                  <a:lnTo>
                    <a:pt x="581" y="701"/>
                  </a:lnTo>
                  <a:lnTo>
                    <a:pt x="572" y="681"/>
                  </a:lnTo>
                  <a:lnTo>
                    <a:pt x="572" y="681"/>
                  </a:lnTo>
                  <a:lnTo>
                    <a:pt x="568" y="674"/>
                  </a:lnTo>
                  <a:lnTo>
                    <a:pt x="563" y="666"/>
                  </a:lnTo>
                  <a:lnTo>
                    <a:pt x="557" y="660"/>
                  </a:lnTo>
                  <a:lnTo>
                    <a:pt x="551" y="655"/>
                  </a:lnTo>
                  <a:lnTo>
                    <a:pt x="544" y="651"/>
                  </a:lnTo>
                  <a:lnTo>
                    <a:pt x="536" y="648"/>
                  </a:lnTo>
                  <a:lnTo>
                    <a:pt x="527" y="646"/>
                  </a:lnTo>
                  <a:lnTo>
                    <a:pt x="518" y="645"/>
                  </a:lnTo>
                  <a:lnTo>
                    <a:pt x="518" y="645"/>
                  </a:lnTo>
                  <a:lnTo>
                    <a:pt x="498" y="640"/>
                  </a:lnTo>
                  <a:lnTo>
                    <a:pt x="479" y="634"/>
                  </a:lnTo>
                  <a:lnTo>
                    <a:pt x="459" y="625"/>
                  </a:lnTo>
                  <a:lnTo>
                    <a:pt x="442" y="615"/>
                  </a:lnTo>
                  <a:lnTo>
                    <a:pt x="442" y="615"/>
                  </a:lnTo>
                  <a:lnTo>
                    <a:pt x="421" y="598"/>
                  </a:lnTo>
                  <a:lnTo>
                    <a:pt x="411" y="590"/>
                  </a:lnTo>
                  <a:lnTo>
                    <a:pt x="403" y="580"/>
                  </a:lnTo>
                  <a:lnTo>
                    <a:pt x="403" y="580"/>
                  </a:lnTo>
                  <a:lnTo>
                    <a:pt x="396" y="569"/>
                  </a:lnTo>
                  <a:lnTo>
                    <a:pt x="391" y="560"/>
                  </a:lnTo>
                  <a:lnTo>
                    <a:pt x="382" y="539"/>
                  </a:lnTo>
                  <a:lnTo>
                    <a:pt x="376" y="519"/>
                  </a:lnTo>
                  <a:lnTo>
                    <a:pt x="370" y="498"/>
                  </a:lnTo>
                  <a:lnTo>
                    <a:pt x="370" y="498"/>
                  </a:lnTo>
                  <a:lnTo>
                    <a:pt x="364" y="474"/>
                  </a:lnTo>
                  <a:lnTo>
                    <a:pt x="355" y="452"/>
                  </a:lnTo>
                  <a:lnTo>
                    <a:pt x="344" y="430"/>
                  </a:lnTo>
                  <a:lnTo>
                    <a:pt x="332" y="411"/>
                  </a:lnTo>
                  <a:lnTo>
                    <a:pt x="319" y="393"/>
                  </a:lnTo>
                  <a:lnTo>
                    <a:pt x="302" y="376"/>
                  </a:lnTo>
                  <a:lnTo>
                    <a:pt x="284" y="361"/>
                  </a:lnTo>
                  <a:lnTo>
                    <a:pt x="264" y="346"/>
                  </a:lnTo>
                  <a:lnTo>
                    <a:pt x="264" y="346"/>
                  </a:lnTo>
                  <a:lnTo>
                    <a:pt x="243" y="334"/>
                  </a:lnTo>
                  <a:lnTo>
                    <a:pt x="224" y="320"/>
                  </a:lnTo>
                  <a:lnTo>
                    <a:pt x="205" y="304"/>
                  </a:lnTo>
                  <a:lnTo>
                    <a:pt x="190" y="284"/>
                  </a:lnTo>
                  <a:lnTo>
                    <a:pt x="190" y="284"/>
                  </a:lnTo>
                  <a:lnTo>
                    <a:pt x="183" y="275"/>
                  </a:lnTo>
                  <a:lnTo>
                    <a:pt x="174" y="266"/>
                  </a:lnTo>
                  <a:lnTo>
                    <a:pt x="163" y="258"/>
                  </a:lnTo>
                  <a:lnTo>
                    <a:pt x="157" y="255"/>
                  </a:lnTo>
                  <a:lnTo>
                    <a:pt x="151" y="254"/>
                  </a:lnTo>
                  <a:lnTo>
                    <a:pt x="151" y="254"/>
                  </a:lnTo>
                  <a:lnTo>
                    <a:pt x="130" y="236"/>
                  </a:lnTo>
                  <a:lnTo>
                    <a:pt x="119" y="228"/>
                  </a:lnTo>
                  <a:lnTo>
                    <a:pt x="113" y="225"/>
                  </a:lnTo>
                  <a:lnTo>
                    <a:pt x="107" y="222"/>
                  </a:lnTo>
                  <a:lnTo>
                    <a:pt x="107" y="222"/>
                  </a:lnTo>
                  <a:lnTo>
                    <a:pt x="100" y="219"/>
                  </a:lnTo>
                  <a:lnTo>
                    <a:pt x="92" y="213"/>
                  </a:lnTo>
                  <a:lnTo>
                    <a:pt x="80" y="199"/>
                  </a:lnTo>
                  <a:lnTo>
                    <a:pt x="80" y="199"/>
                  </a:lnTo>
                  <a:lnTo>
                    <a:pt x="80" y="195"/>
                  </a:lnTo>
                  <a:lnTo>
                    <a:pt x="80" y="192"/>
                  </a:lnTo>
                  <a:lnTo>
                    <a:pt x="77" y="190"/>
                  </a:lnTo>
                  <a:lnTo>
                    <a:pt x="77" y="190"/>
                  </a:lnTo>
                  <a:lnTo>
                    <a:pt x="77" y="190"/>
                  </a:lnTo>
                  <a:lnTo>
                    <a:pt x="77" y="189"/>
                  </a:lnTo>
                  <a:lnTo>
                    <a:pt x="77" y="189"/>
                  </a:lnTo>
                  <a:lnTo>
                    <a:pt x="77" y="183"/>
                  </a:lnTo>
                  <a:lnTo>
                    <a:pt x="76" y="177"/>
                  </a:lnTo>
                  <a:lnTo>
                    <a:pt x="71" y="165"/>
                  </a:lnTo>
                  <a:lnTo>
                    <a:pt x="71" y="165"/>
                  </a:lnTo>
                  <a:lnTo>
                    <a:pt x="70" y="155"/>
                  </a:lnTo>
                  <a:lnTo>
                    <a:pt x="70" y="155"/>
                  </a:lnTo>
                  <a:lnTo>
                    <a:pt x="74" y="113"/>
                  </a:lnTo>
                  <a:lnTo>
                    <a:pt x="74" y="113"/>
                  </a:lnTo>
                  <a:lnTo>
                    <a:pt x="74" y="110"/>
                  </a:lnTo>
                  <a:lnTo>
                    <a:pt x="73" y="107"/>
                  </a:lnTo>
                  <a:lnTo>
                    <a:pt x="71" y="106"/>
                  </a:lnTo>
                  <a:lnTo>
                    <a:pt x="68" y="104"/>
                  </a:lnTo>
                  <a:lnTo>
                    <a:pt x="68" y="104"/>
                  </a:lnTo>
                  <a:lnTo>
                    <a:pt x="23" y="95"/>
                  </a:lnTo>
                  <a:lnTo>
                    <a:pt x="23" y="95"/>
                  </a:lnTo>
                  <a:lnTo>
                    <a:pt x="14" y="86"/>
                  </a:lnTo>
                  <a:lnTo>
                    <a:pt x="14" y="86"/>
                  </a:lnTo>
                  <a:lnTo>
                    <a:pt x="9" y="78"/>
                  </a:lnTo>
                  <a:lnTo>
                    <a:pt x="5" y="71"/>
                  </a:lnTo>
                  <a:lnTo>
                    <a:pt x="3" y="63"/>
                  </a:lnTo>
                  <a:lnTo>
                    <a:pt x="0" y="56"/>
                  </a:lnTo>
                  <a:lnTo>
                    <a:pt x="0" y="48"/>
                  </a:lnTo>
                  <a:lnTo>
                    <a:pt x="2" y="41"/>
                  </a:lnTo>
                  <a:lnTo>
                    <a:pt x="3" y="33"/>
                  </a:lnTo>
                  <a:lnTo>
                    <a:pt x="6" y="26"/>
                  </a:lnTo>
                  <a:lnTo>
                    <a:pt x="6" y="26"/>
                  </a:lnTo>
                  <a:lnTo>
                    <a:pt x="11" y="20"/>
                  </a:lnTo>
                  <a:lnTo>
                    <a:pt x="17" y="14"/>
                  </a:lnTo>
                  <a:lnTo>
                    <a:pt x="23" y="9"/>
                  </a:lnTo>
                  <a:lnTo>
                    <a:pt x="29" y="4"/>
                  </a:lnTo>
                  <a:lnTo>
                    <a:pt x="36" y="3"/>
                  </a:lnTo>
                  <a:lnTo>
                    <a:pt x="44" y="1"/>
                  </a:lnTo>
                  <a:lnTo>
                    <a:pt x="53" y="0"/>
                  </a:lnTo>
                  <a:lnTo>
                    <a:pt x="62" y="1"/>
                  </a:lnTo>
                  <a:lnTo>
                    <a:pt x="62" y="1"/>
                  </a:lnTo>
                  <a:lnTo>
                    <a:pt x="86" y="4"/>
                  </a:lnTo>
                  <a:lnTo>
                    <a:pt x="110" y="9"/>
                  </a:lnTo>
                  <a:lnTo>
                    <a:pt x="134" y="14"/>
                  </a:lnTo>
                  <a:lnTo>
                    <a:pt x="157" y="20"/>
                  </a:lnTo>
                  <a:lnTo>
                    <a:pt x="204" y="35"/>
                  </a:lnTo>
                  <a:lnTo>
                    <a:pt x="251" y="51"/>
                  </a:lnTo>
                  <a:lnTo>
                    <a:pt x="251" y="51"/>
                  </a:lnTo>
                  <a:lnTo>
                    <a:pt x="270" y="60"/>
                  </a:lnTo>
                  <a:lnTo>
                    <a:pt x="288" y="72"/>
                  </a:lnTo>
                  <a:lnTo>
                    <a:pt x="308" y="83"/>
                  </a:lnTo>
                  <a:lnTo>
                    <a:pt x="319" y="88"/>
                  </a:lnTo>
                  <a:lnTo>
                    <a:pt x="329" y="91"/>
                  </a:lnTo>
                  <a:lnTo>
                    <a:pt x="329" y="91"/>
                  </a:lnTo>
                  <a:lnTo>
                    <a:pt x="341" y="97"/>
                  </a:lnTo>
                  <a:lnTo>
                    <a:pt x="352" y="104"/>
                  </a:lnTo>
                  <a:lnTo>
                    <a:pt x="362" y="115"/>
                  </a:lnTo>
                  <a:lnTo>
                    <a:pt x="370" y="128"/>
                  </a:lnTo>
                  <a:lnTo>
                    <a:pt x="370" y="128"/>
                  </a:lnTo>
                  <a:lnTo>
                    <a:pt x="375" y="136"/>
                  </a:lnTo>
                  <a:lnTo>
                    <a:pt x="382" y="140"/>
                  </a:lnTo>
                  <a:lnTo>
                    <a:pt x="391" y="143"/>
                  </a:lnTo>
                  <a:lnTo>
                    <a:pt x="400" y="145"/>
                  </a:lnTo>
                  <a:lnTo>
                    <a:pt x="400" y="145"/>
                  </a:lnTo>
                  <a:lnTo>
                    <a:pt x="427" y="145"/>
                  </a:lnTo>
                  <a:lnTo>
                    <a:pt x="456" y="146"/>
                  </a:lnTo>
                  <a:lnTo>
                    <a:pt x="456" y="146"/>
                  </a:lnTo>
                  <a:lnTo>
                    <a:pt x="464" y="146"/>
                  </a:lnTo>
                  <a:lnTo>
                    <a:pt x="471" y="149"/>
                  </a:lnTo>
                  <a:lnTo>
                    <a:pt x="477" y="152"/>
                  </a:lnTo>
                  <a:lnTo>
                    <a:pt x="483" y="155"/>
                  </a:lnTo>
                  <a:lnTo>
                    <a:pt x="488" y="160"/>
                  </a:lnTo>
                  <a:lnTo>
                    <a:pt x="492" y="166"/>
                  </a:lnTo>
                  <a:lnTo>
                    <a:pt x="495" y="174"/>
                  </a:lnTo>
                  <a:lnTo>
                    <a:pt x="498" y="181"/>
                  </a:lnTo>
                  <a:lnTo>
                    <a:pt x="498" y="181"/>
                  </a:lnTo>
                  <a:lnTo>
                    <a:pt x="501" y="192"/>
                  </a:lnTo>
                  <a:lnTo>
                    <a:pt x="507" y="201"/>
                  </a:lnTo>
                  <a:lnTo>
                    <a:pt x="515" y="208"/>
                  </a:lnTo>
                  <a:lnTo>
                    <a:pt x="524" y="214"/>
                  </a:lnTo>
                  <a:lnTo>
                    <a:pt x="524" y="214"/>
                  </a:lnTo>
                  <a:lnTo>
                    <a:pt x="536" y="222"/>
                  </a:lnTo>
                  <a:lnTo>
                    <a:pt x="545" y="231"/>
                  </a:lnTo>
                  <a:lnTo>
                    <a:pt x="551" y="242"/>
                  </a:lnTo>
                  <a:lnTo>
                    <a:pt x="553" y="248"/>
                  </a:lnTo>
                  <a:lnTo>
                    <a:pt x="554" y="254"/>
                  </a:lnTo>
                  <a:lnTo>
                    <a:pt x="554" y="254"/>
                  </a:lnTo>
                  <a:lnTo>
                    <a:pt x="556" y="258"/>
                  </a:lnTo>
                  <a:lnTo>
                    <a:pt x="559" y="261"/>
                  </a:lnTo>
                  <a:lnTo>
                    <a:pt x="562" y="260"/>
                  </a:lnTo>
                  <a:lnTo>
                    <a:pt x="565" y="258"/>
                  </a:lnTo>
                  <a:lnTo>
                    <a:pt x="565" y="258"/>
                  </a:lnTo>
                  <a:lnTo>
                    <a:pt x="572" y="254"/>
                  </a:lnTo>
                  <a:lnTo>
                    <a:pt x="572" y="254"/>
                  </a:lnTo>
                  <a:lnTo>
                    <a:pt x="586" y="243"/>
                  </a:lnTo>
                  <a:lnTo>
                    <a:pt x="601" y="234"/>
                  </a:lnTo>
                  <a:lnTo>
                    <a:pt x="616" y="228"/>
                  </a:lnTo>
                  <a:lnTo>
                    <a:pt x="633" y="225"/>
                  </a:lnTo>
                  <a:lnTo>
                    <a:pt x="649" y="222"/>
                  </a:lnTo>
                  <a:lnTo>
                    <a:pt x="666" y="220"/>
                  </a:lnTo>
                  <a:lnTo>
                    <a:pt x="699" y="220"/>
                  </a:lnTo>
                  <a:lnTo>
                    <a:pt x="699" y="220"/>
                  </a:lnTo>
                  <a:lnTo>
                    <a:pt x="708" y="222"/>
                  </a:lnTo>
                  <a:lnTo>
                    <a:pt x="711" y="223"/>
                  </a:lnTo>
                  <a:lnTo>
                    <a:pt x="714" y="226"/>
                  </a:lnTo>
                  <a:lnTo>
                    <a:pt x="714" y="226"/>
                  </a:lnTo>
                  <a:lnTo>
                    <a:pt x="720" y="233"/>
                  </a:lnTo>
                  <a:lnTo>
                    <a:pt x="726" y="234"/>
                  </a:lnTo>
                  <a:lnTo>
                    <a:pt x="732" y="233"/>
                  </a:lnTo>
                  <a:lnTo>
                    <a:pt x="740" y="229"/>
                  </a:lnTo>
                  <a:lnTo>
                    <a:pt x="740" y="229"/>
                  </a:lnTo>
                  <a:lnTo>
                    <a:pt x="753" y="219"/>
                  </a:lnTo>
                  <a:lnTo>
                    <a:pt x="767" y="208"/>
                  </a:lnTo>
                  <a:lnTo>
                    <a:pt x="767" y="208"/>
                  </a:lnTo>
                  <a:lnTo>
                    <a:pt x="775" y="199"/>
                  </a:lnTo>
                  <a:lnTo>
                    <a:pt x="779" y="190"/>
                  </a:lnTo>
                  <a:lnTo>
                    <a:pt x="781" y="186"/>
                  </a:lnTo>
                  <a:lnTo>
                    <a:pt x="781" y="181"/>
                  </a:lnTo>
                  <a:lnTo>
                    <a:pt x="779" y="175"/>
                  </a:lnTo>
                  <a:lnTo>
                    <a:pt x="778" y="169"/>
                  </a:lnTo>
                  <a:lnTo>
                    <a:pt x="778" y="169"/>
                  </a:lnTo>
                  <a:lnTo>
                    <a:pt x="775" y="165"/>
                  </a:lnTo>
                  <a:lnTo>
                    <a:pt x="775" y="160"/>
                  </a:lnTo>
                  <a:lnTo>
                    <a:pt x="775" y="155"/>
                  </a:lnTo>
                  <a:lnTo>
                    <a:pt x="776" y="152"/>
                  </a:lnTo>
                  <a:lnTo>
                    <a:pt x="779" y="149"/>
                  </a:lnTo>
                  <a:lnTo>
                    <a:pt x="784" y="148"/>
                  </a:lnTo>
                  <a:lnTo>
                    <a:pt x="794" y="148"/>
                  </a:lnTo>
                  <a:lnTo>
                    <a:pt x="794" y="148"/>
                  </a:lnTo>
                  <a:lnTo>
                    <a:pt x="805" y="149"/>
                  </a:lnTo>
                  <a:lnTo>
                    <a:pt x="815" y="152"/>
                  </a:lnTo>
                  <a:lnTo>
                    <a:pt x="826" y="157"/>
                  </a:lnTo>
                  <a:lnTo>
                    <a:pt x="837" y="163"/>
                  </a:lnTo>
                  <a:lnTo>
                    <a:pt x="837" y="163"/>
                  </a:lnTo>
                  <a:lnTo>
                    <a:pt x="844" y="169"/>
                  </a:lnTo>
                  <a:lnTo>
                    <a:pt x="850" y="177"/>
                  </a:lnTo>
                  <a:lnTo>
                    <a:pt x="855" y="183"/>
                  </a:lnTo>
                  <a:lnTo>
                    <a:pt x="856" y="190"/>
                  </a:lnTo>
                  <a:lnTo>
                    <a:pt x="858" y="198"/>
                  </a:lnTo>
                  <a:lnTo>
                    <a:pt x="856" y="205"/>
                  </a:lnTo>
                  <a:lnTo>
                    <a:pt x="853" y="214"/>
                  </a:lnTo>
                  <a:lnTo>
                    <a:pt x="847" y="223"/>
                  </a:lnTo>
                  <a:lnTo>
                    <a:pt x="847" y="223"/>
                  </a:lnTo>
                  <a:lnTo>
                    <a:pt x="843" y="233"/>
                  </a:lnTo>
                  <a:lnTo>
                    <a:pt x="843" y="233"/>
                  </a:lnTo>
                  <a:lnTo>
                    <a:pt x="837" y="245"/>
                  </a:lnTo>
                  <a:lnTo>
                    <a:pt x="835" y="249"/>
                  </a:lnTo>
                  <a:lnTo>
                    <a:pt x="835" y="252"/>
                  </a:lnTo>
                  <a:lnTo>
                    <a:pt x="837" y="255"/>
                  </a:lnTo>
                  <a:lnTo>
                    <a:pt x="840" y="258"/>
                  </a:lnTo>
                  <a:lnTo>
                    <a:pt x="852" y="264"/>
                  </a:lnTo>
                  <a:lnTo>
                    <a:pt x="852" y="264"/>
                  </a:lnTo>
                  <a:lnTo>
                    <a:pt x="861" y="269"/>
                  </a:lnTo>
                  <a:lnTo>
                    <a:pt x="867" y="275"/>
                  </a:lnTo>
                  <a:lnTo>
                    <a:pt x="873" y="282"/>
                  </a:lnTo>
                  <a:lnTo>
                    <a:pt x="876" y="290"/>
                  </a:lnTo>
                  <a:lnTo>
                    <a:pt x="877" y="297"/>
                  </a:lnTo>
                  <a:lnTo>
                    <a:pt x="879" y="307"/>
                  </a:lnTo>
                  <a:lnTo>
                    <a:pt x="876" y="316"/>
                  </a:lnTo>
                  <a:lnTo>
                    <a:pt x="873" y="325"/>
                  </a:lnTo>
                  <a:lnTo>
                    <a:pt x="873" y="325"/>
                  </a:lnTo>
                  <a:lnTo>
                    <a:pt x="867" y="332"/>
                  </a:lnTo>
                  <a:lnTo>
                    <a:pt x="861" y="337"/>
                  </a:lnTo>
                  <a:lnTo>
                    <a:pt x="853" y="338"/>
                  </a:lnTo>
                  <a:lnTo>
                    <a:pt x="843" y="337"/>
                  </a:lnTo>
                  <a:lnTo>
                    <a:pt x="843" y="337"/>
                  </a:lnTo>
                  <a:lnTo>
                    <a:pt x="835" y="337"/>
                  </a:lnTo>
                  <a:lnTo>
                    <a:pt x="830" y="338"/>
                  </a:lnTo>
                  <a:lnTo>
                    <a:pt x="826" y="343"/>
                  </a:lnTo>
                  <a:lnTo>
                    <a:pt x="824" y="352"/>
                  </a:lnTo>
                  <a:lnTo>
                    <a:pt x="824" y="352"/>
                  </a:lnTo>
                  <a:lnTo>
                    <a:pt x="823" y="359"/>
                  </a:lnTo>
                  <a:lnTo>
                    <a:pt x="820" y="364"/>
                  </a:lnTo>
                  <a:lnTo>
                    <a:pt x="814" y="370"/>
                  </a:lnTo>
                  <a:lnTo>
                    <a:pt x="806" y="373"/>
                  </a:lnTo>
                  <a:lnTo>
                    <a:pt x="806" y="373"/>
                  </a:lnTo>
                  <a:lnTo>
                    <a:pt x="796" y="378"/>
                  </a:lnTo>
                  <a:lnTo>
                    <a:pt x="784" y="379"/>
                  </a:lnTo>
                  <a:lnTo>
                    <a:pt x="760" y="384"/>
                  </a:lnTo>
                  <a:lnTo>
                    <a:pt x="760" y="384"/>
                  </a:lnTo>
                  <a:lnTo>
                    <a:pt x="744" y="388"/>
                  </a:lnTo>
                  <a:lnTo>
                    <a:pt x="737" y="390"/>
                  </a:lnTo>
                  <a:lnTo>
                    <a:pt x="729" y="394"/>
                  </a:lnTo>
                  <a:lnTo>
                    <a:pt x="729" y="394"/>
                  </a:lnTo>
                  <a:lnTo>
                    <a:pt x="722" y="400"/>
                  </a:lnTo>
                  <a:lnTo>
                    <a:pt x="720" y="403"/>
                  </a:lnTo>
                  <a:lnTo>
                    <a:pt x="719" y="408"/>
                  </a:lnTo>
                  <a:lnTo>
                    <a:pt x="717" y="411"/>
                  </a:lnTo>
                  <a:lnTo>
                    <a:pt x="719" y="415"/>
                  </a:lnTo>
                  <a:lnTo>
                    <a:pt x="720" y="418"/>
                  </a:lnTo>
                  <a:lnTo>
                    <a:pt x="723" y="423"/>
                  </a:lnTo>
                  <a:lnTo>
                    <a:pt x="723" y="423"/>
                  </a:lnTo>
                  <a:lnTo>
                    <a:pt x="737" y="436"/>
                  </a:lnTo>
                  <a:lnTo>
                    <a:pt x="750" y="449"/>
                  </a:lnTo>
                  <a:lnTo>
                    <a:pt x="781" y="470"/>
                  </a:lnTo>
                  <a:lnTo>
                    <a:pt x="781" y="470"/>
                  </a:lnTo>
                  <a:lnTo>
                    <a:pt x="785" y="473"/>
                  </a:lnTo>
                  <a:lnTo>
                    <a:pt x="788" y="471"/>
                  </a:lnTo>
                  <a:lnTo>
                    <a:pt x="791" y="468"/>
                  </a:lnTo>
                  <a:lnTo>
                    <a:pt x="794" y="465"/>
                  </a:lnTo>
                  <a:lnTo>
                    <a:pt x="794" y="465"/>
                  </a:lnTo>
                  <a:lnTo>
                    <a:pt x="799" y="456"/>
                  </a:lnTo>
                  <a:lnTo>
                    <a:pt x="802" y="453"/>
                  </a:lnTo>
                  <a:lnTo>
                    <a:pt x="806" y="452"/>
                  </a:lnTo>
                  <a:lnTo>
                    <a:pt x="809" y="452"/>
                  </a:lnTo>
                  <a:lnTo>
                    <a:pt x="814" y="452"/>
                  </a:lnTo>
                  <a:lnTo>
                    <a:pt x="823" y="456"/>
                  </a:lnTo>
                  <a:lnTo>
                    <a:pt x="823" y="456"/>
                  </a:lnTo>
                  <a:lnTo>
                    <a:pt x="832" y="464"/>
                  </a:lnTo>
                  <a:lnTo>
                    <a:pt x="840" y="473"/>
                  </a:lnTo>
                  <a:lnTo>
                    <a:pt x="840" y="473"/>
                  </a:lnTo>
                  <a:lnTo>
                    <a:pt x="855" y="492"/>
                  </a:lnTo>
                  <a:lnTo>
                    <a:pt x="868" y="513"/>
                  </a:lnTo>
                  <a:lnTo>
                    <a:pt x="879" y="535"/>
                  </a:lnTo>
                  <a:lnTo>
                    <a:pt x="883" y="547"/>
                  </a:lnTo>
                  <a:lnTo>
                    <a:pt x="888" y="557"/>
                  </a:lnTo>
                  <a:lnTo>
                    <a:pt x="888" y="557"/>
                  </a:lnTo>
                  <a:lnTo>
                    <a:pt x="894" y="575"/>
                  </a:lnTo>
                  <a:lnTo>
                    <a:pt x="898" y="583"/>
                  </a:lnTo>
                  <a:lnTo>
                    <a:pt x="903" y="587"/>
                  </a:lnTo>
                  <a:lnTo>
                    <a:pt x="909" y="592"/>
                  </a:lnTo>
                  <a:lnTo>
                    <a:pt x="915" y="595"/>
                  </a:lnTo>
                  <a:lnTo>
                    <a:pt x="924" y="598"/>
                  </a:lnTo>
                  <a:lnTo>
                    <a:pt x="933" y="598"/>
                  </a:lnTo>
                  <a:lnTo>
                    <a:pt x="933" y="598"/>
                  </a:lnTo>
                  <a:lnTo>
                    <a:pt x="939" y="600"/>
                  </a:lnTo>
                  <a:lnTo>
                    <a:pt x="944" y="603"/>
                  </a:lnTo>
                  <a:lnTo>
                    <a:pt x="947" y="609"/>
                  </a:lnTo>
                  <a:lnTo>
                    <a:pt x="948" y="615"/>
                  </a:lnTo>
                  <a:lnTo>
                    <a:pt x="948" y="615"/>
                  </a:lnTo>
                  <a:lnTo>
                    <a:pt x="950" y="622"/>
                  </a:lnTo>
                  <a:lnTo>
                    <a:pt x="951" y="628"/>
                  </a:lnTo>
                  <a:lnTo>
                    <a:pt x="954" y="634"/>
                  </a:lnTo>
                  <a:lnTo>
                    <a:pt x="959" y="640"/>
                  </a:lnTo>
                  <a:lnTo>
                    <a:pt x="963" y="645"/>
                  </a:lnTo>
                  <a:lnTo>
                    <a:pt x="969" y="649"/>
                  </a:lnTo>
                  <a:lnTo>
                    <a:pt x="975" y="652"/>
                  </a:lnTo>
                  <a:lnTo>
                    <a:pt x="983" y="654"/>
                  </a:lnTo>
                  <a:lnTo>
                    <a:pt x="983" y="654"/>
                  </a:lnTo>
                  <a:lnTo>
                    <a:pt x="991" y="655"/>
                  </a:lnTo>
                  <a:lnTo>
                    <a:pt x="1000" y="654"/>
                  </a:lnTo>
                  <a:lnTo>
                    <a:pt x="1007" y="654"/>
                  </a:lnTo>
                  <a:lnTo>
                    <a:pt x="1015" y="651"/>
                  </a:lnTo>
                  <a:lnTo>
                    <a:pt x="1021" y="648"/>
                  </a:lnTo>
                  <a:lnTo>
                    <a:pt x="1027" y="643"/>
                  </a:lnTo>
                  <a:lnTo>
                    <a:pt x="1033" y="637"/>
                  </a:lnTo>
                  <a:lnTo>
                    <a:pt x="1036" y="631"/>
                  </a:lnTo>
                  <a:lnTo>
                    <a:pt x="1036" y="631"/>
                  </a:lnTo>
                  <a:lnTo>
                    <a:pt x="1040" y="622"/>
                  </a:lnTo>
                  <a:lnTo>
                    <a:pt x="1045" y="615"/>
                  </a:lnTo>
                  <a:lnTo>
                    <a:pt x="1051" y="609"/>
                  </a:lnTo>
                  <a:lnTo>
                    <a:pt x="1057" y="603"/>
                  </a:lnTo>
                  <a:lnTo>
                    <a:pt x="1065" y="598"/>
                  </a:lnTo>
                  <a:lnTo>
                    <a:pt x="1072" y="594"/>
                  </a:lnTo>
                  <a:lnTo>
                    <a:pt x="1089" y="586"/>
                  </a:lnTo>
                  <a:lnTo>
                    <a:pt x="1089" y="586"/>
                  </a:lnTo>
                  <a:lnTo>
                    <a:pt x="1099" y="584"/>
                  </a:lnTo>
                  <a:lnTo>
                    <a:pt x="1108" y="584"/>
                  </a:lnTo>
                  <a:lnTo>
                    <a:pt x="1117" y="586"/>
                  </a:lnTo>
                  <a:lnTo>
                    <a:pt x="1126" y="592"/>
                  </a:lnTo>
                  <a:lnTo>
                    <a:pt x="1126" y="592"/>
                  </a:lnTo>
                  <a:lnTo>
                    <a:pt x="1132" y="598"/>
                  </a:lnTo>
                  <a:lnTo>
                    <a:pt x="1137" y="600"/>
                  </a:lnTo>
                  <a:lnTo>
                    <a:pt x="1140" y="598"/>
                  </a:lnTo>
                  <a:lnTo>
                    <a:pt x="1140" y="598"/>
                  </a:lnTo>
                  <a:lnTo>
                    <a:pt x="1143" y="594"/>
                  </a:lnTo>
                  <a:lnTo>
                    <a:pt x="1145" y="589"/>
                  </a:lnTo>
                  <a:lnTo>
                    <a:pt x="1143" y="580"/>
                  </a:lnTo>
                  <a:lnTo>
                    <a:pt x="1143" y="580"/>
                  </a:lnTo>
                  <a:lnTo>
                    <a:pt x="1142" y="575"/>
                  </a:lnTo>
                  <a:lnTo>
                    <a:pt x="1138" y="571"/>
                  </a:lnTo>
                  <a:lnTo>
                    <a:pt x="1135" y="569"/>
                  </a:lnTo>
                  <a:lnTo>
                    <a:pt x="1129" y="568"/>
                  </a:lnTo>
                  <a:lnTo>
                    <a:pt x="1129" y="568"/>
                  </a:lnTo>
                  <a:lnTo>
                    <a:pt x="1113" y="569"/>
                  </a:lnTo>
                  <a:lnTo>
                    <a:pt x="1113" y="569"/>
                  </a:lnTo>
                  <a:lnTo>
                    <a:pt x="1107" y="569"/>
                  </a:lnTo>
                  <a:lnTo>
                    <a:pt x="1102" y="568"/>
                  </a:lnTo>
                  <a:lnTo>
                    <a:pt x="1098" y="566"/>
                  </a:lnTo>
                  <a:lnTo>
                    <a:pt x="1095" y="562"/>
                  </a:lnTo>
                  <a:lnTo>
                    <a:pt x="1093" y="559"/>
                  </a:lnTo>
                  <a:lnTo>
                    <a:pt x="1092" y="553"/>
                  </a:lnTo>
                  <a:lnTo>
                    <a:pt x="1092" y="548"/>
                  </a:lnTo>
                  <a:lnTo>
                    <a:pt x="1093" y="542"/>
                  </a:lnTo>
                  <a:lnTo>
                    <a:pt x="1093" y="542"/>
                  </a:lnTo>
                  <a:lnTo>
                    <a:pt x="1096" y="535"/>
                  </a:lnTo>
                  <a:lnTo>
                    <a:pt x="1101" y="529"/>
                  </a:lnTo>
                  <a:lnTo>
                    <a:pt x="1105" y="524"/>
                  </a:lnTo>
                  <a:lnTo>
                    <a:pt x="1113" y="519"/>
                  </a:lnTo>
                  <a:lnTo>
                    <a:pt x="1119" y="516"/>
                  </a:lnTo>
                  <a:lnTo>
                    <a:pt x="1126" y="513"/>
                  </a:lnTo>
                  <a:lnTo>
                    <a:pt x="1134" y="513"/>
                  </a:lnTo>
                  <a:lnTo>
                    <a:pt x="1142" y="515"/>
                  </a:lnTo>
                  <a:lnTo>
                    <a:pt x="1142" y="515"/>
                  </a:lnTo>
                  <a:lnTo>
                    <a:pt x="1154" y="518"/>
                  </a:lnTo>
                  <a:lnTo>
                    <a:pt x="1164" y="523"/>
                  </a:lnTo>
                  <a:lnTo>
                    <a:pt x="1173" y="527"/>
                  </a:lnTo>
                  <a:lnTo>
                    <a:pt x="1181" y="535"/>
                  </a:lnTo>
                  <a:lnTo>
                    <a:pt x="1188" y="542"/>
                  </a:lnTo>
                  <a:lnTo>
                    <a:pt x="1194" y="551"/>
                  </a:lnTo>
                  <a:lnTo>
                    <a:pt x="1197" y="562"/>
                  </a:lnTo>
                  <a:lnTo>
                    <a:pt x="1200" y="575"/>
                  </a:lnTo>
                  <a:lnTo>
                    <a:pt x="1200" y="575"/>
                  </a:lnTo>
                  <a:lnTo>
                    <a:pt x="1203" y="592"/>
                  </a:lnTo>
                  <a:lnTo>
                    <a:pt x="1205" y="600"/>
                  </a:lnTo>
                  <a:lnTo>
                    <a:pt x="1209" y="607"/>
                  </a:lnTo>
                  <a:lnTo>
                    <a:pt x="1214" y="613"/>
                  </a:lnTo>
                  <a:lnTo>
                    <a:pt x="1220" y="618"/>
                  </a:lnTo>
                  <a:lnTo>
                    <a:pt x="1228" y="622"/>
                  </a:lnTo>
                  <a:lnTo>
                    <a:pt x="1237" y="625"/>
                  </a:lnTo>
                  <a:lnTo>
                    <a:pt x="1237" y="625"/>
                  </a:lnTo>
                  <a:lnTo>
                    <a:pt x="1241" y="627"/>
                  </a:lnTo>
                  <a:lnTo>
                    <a:pt x="1246" y="625"/>
                  </a:lnTo>
                  <a:lnTo>
                    <a:pt x="1249" y="622"/>
                  </a:lnTo>
                  <a:lnTo>
                    <a:pt x="1252" y="618"/>
                  </a:lnTo>
                  <a:lnTo>
                    <a:pt x="1252" y="618"/>
                  </a:lnTo>
                  <a:lnTo>
                    <a:pt x="1253" y="612"/>
                  </a:lnTo>
                  <a:lnTo>
                    <a:pt x="1256" y="607"/>
                  </a:lnTo>
                  <a:lnTo>
                    <a:pt x="1259" y="603"/>
                  </a:lnTo>
                  <a:lnTo>
                    <a:pt x="1262" y="600"/>
                  </a:lnTo>
                  <a:lnTo>
                    <a:pt x="1267" y="598"/>
                  </a:lnTo>
                  <a:lnTo>
                    <a:pt x="1273" y="597"/>
                  </a:lnTo>
                  <a:lnTo>
                    <a:pt x="1285" y="597"/>
                  </a:lnTo>
                  <a:lnTo>
                    <a:pt x="1285" y="597"/>
                  </a:lnTo>
                  <a:lnTo>
                    <a:pt x="1289" y="597"/>
                  </a:lnTo>
                  <a:lnTo>
                    <a:pt x="1294" y="598"/>
                  </a:lnTo>
                  <a:lnTo>
                    <a:pt x="1299" y="601"/>
                  </a:lnTo>
                  <a:lnTo>
                    <a:pt x="1302" y="604"/>
                  </a:lnTo>
                  <a:lnTo>
                    <a:pt x="1306" y="612"/>
                  </a:lnTo>
                  <a:lnTo>
                    <a:pt x="1308" y="622"/>
                  </a:lnTo>
                  <a:lnTo>
                    <a:pt x="1308" y="622"/>
                  </a:lnTo>
                  <a:lnTo>
                    <a:pt x="1311" y="636"/>
                  </a:lnTo>
                  <a:lnTo>
                    <a:pt x="1312" y="639"/>
                  </a:lnTo>
                  <a:lnTo>
                    <a:pt x="1314" y="642"/>
                  </a:lnTo>
                  <a:lnTo>
                    <a:pt x="1317" y="643"/>
                  </a:lnTo>
                  <a:lnTo>
                    <a:pt x="1321" y="645"/>
                  </a:lnTo>
                  <a:lnTo>
                    <a:pt x="1333" y="643"/>
                  </a:lnTo>
                  <a:lnTo>
                    <a:pt x="1333" y="643"/>
                  </a:lnTo>
                  <a:lnTo>
                    <a:pt x="1345" y="643"/>
                  </a:lnTo>
                  <a:lnTo>
                    <a:pt x="1356" y="643"/>
                  </a:lnTo>
                  <a:lnTo>
                    <a:pt x="1356" y="643"/>
                  </a:lnTo>
                  <a:lnTo>
                    <a:pt x="1365" y="646"/>
                  </a:lnTo>
                  <a:lnTo>
                    <a:pt x="1373" y="651"/>
                  </a:lnTo>
                  <a:lnTo>
                    <a:pt x="1374" y="654"/>
                  </a:lnTo>
                  <a:lnTo>
                    <a:pt x="1376" y="658"/>
                  </a:lnTo>
                  <a:lnTo>
                    <a:pt x="1377" y="663"/>
                  </a:lnTo>
                  <a:lnTo>
                    <a:pt x="1377" y="669"/>
                  </a:lnTo>
                  <a:lnTo>
                    <a:pt x="1377" y="669"/>
                  </a:lnTo>
                  <a:lnTo>
                    <a:pt x="1376" y="678"/>
                  </a:lnTo>
                  <a:lnTo>
                    <a:pt x="1376" y="684"/>
                  </a:lnTo>
                  <a:lnTo>
                    <a:pt x="1377" y="689"/>
                  </a:lnTo>
                  <a:lnTo>
                    <a:pt x="1377" y="689"/>
                  </a:lnTo>
                  <a:lnTo>
                    <a:pt x="1383" y="695"/>
                  </a:lnTo>
                  <a:lnTo>
                    <a:pt x="1388" y="701"/>
                  </a:lnTo>
                  <a:lnTo>
                    <a:pt x="1394" y="705"/>
                  </a:lnTo>
                  <a:lnTo>
                    <a:pt x="1401" y="708"/>
                  </a:lnTo>
                  <a:lnTo>
                    <a:pt x="1401" y="708"/>
                  </a:lnTo>
                  <a:lnTo>
                    <a:pt x="1404" y="707"/>
                  </a:lnTo>
                  <a:lnTo>
                    <a:pt x="1406" y="705"/>
                  </a:lnTo>
                  <a:lnTo>
                    <a:pt x="1409" y="701"/>
                  </a:lnTo>
                  <a:lnTo>
                    <a:pt x="1413" y="695"/>
                  </a:lnTo>
                  <a:lnTo>
                    <a:pt x="1416" y="692"/>
                  </a:lnTo>
                  <a:lnTo>
                    <a:pt x="1419" y="690"/>
                  </a:lnTo>
                  <a:lnTo>
                    <a:pt x="1419" y="690"/>
                  </a:lnTo>
                  <a:lnTo>
                    <a:pt x="1421" y="690"/>
                  </a:lnTo>
                  <a:lnTo>
                    <a:pt x="1419" y="689"/>
                  </a:lnTo>
                  <a:lnTo>
                    <a:pt x="1416" y="684"/>
                  </a:lnTo>
                  <a:lnTo>
                    <a:pt x="1416" y="684"/>
                  </a:lnTo>
                  <a:lnTo>
                    <a:pt x="1413" y="678"/>
                  </a:lnTo>
                  <a:lnTo>
                    <a:pt x="1412" y="675"/>
                  </a:lnTo>
                  <a:lnTo>
                    <a:pt x="1413" y="672"/>
                  </a:lnTo>
                  <a:lnTo>
                    <a:pt x="1415" y="671"/>
                  </a:lnTo>
                  <a:lnTo>
                    <a:pt x="1416" y="669"/>
                  </a:lnTo>
                  <a:lnTo>
                    <a:pt x="1424" y="668"/>
                  </a:lnTo>
                  <a:lnTo>
                    <a:pt x="1424" y="668"/>
                  </a:lnTo>
                  <a:lnTo>
                    <a:pt x="1442" y="666"/>
                  </a:lnTo>
                  <a:lnTo>
                    <a:pt x="1459" y="668"/>
                  </a:lnTo>
                  <a:lnTo>
                    <a:pt x="1475" y="669"/>
                  </a:lnTo>
                  <a:lnTo>
                    <a:pt x="1492" y="671"/>
                  </a:lnTo>
                  <a:lnTo>
                    <a:pt x="1508" y="675"/>
                  </a:lnTo>
                  <a:lnTo>
                    <a:pt x="1523" y="683"/>
                  </a:lnTo>
                  <a:lnTo>
                    <a:pt x="1539" y="690"/>
                  </a:lnTo>
                  <a:lnTo>
                    <a:pt x="1554" y="701"/>
                  </a:lnTo>
                  <a:lnTo>
                    <a:pt x="1554" y="701"/>
                  </a:lnTo>
                  <a:lnTo>
                    <a:pt x="1569" y="714"/>
                  </a:lnTo>
                  <a:lnTo>
                    <a:pt x="1587" y="725"/>
                  </a:lnTo>
                  <a:lnTo>
                    <a:pt x="1587" y="725"/>
                  </a:lnTo>
                  <a:lnTo>
                    <a:pt x="1593" y="726"/>
                  </a:lnTo>
                  <a:lnTo>
                    <a:pt x="1599" y="728"/>
                  </a:lnTo>
                  <a:lnTo>
                    <a:pt x="1604" y="726"/>
                  </a:lnTo>
                  <a:lnTo>
                    <a:pt x="1610" y="723"/>
                  </a:lnTo>
                  <a:lnTo>
                    <a:pt x="1610" y="723"/>
                  </a:lnTo>
                  <a:lnTo>
                    <a:pt x="1613" y="720"/>
                  </a:lnTo>
                  <a:lnTo>
                    <a:pt x="1613" y="719"/>
                  </a:lnTo>
                  <a:lnTo>
                    <a:pt x="1613" y="714"/>
                  </a:lnTo>
                  <a:lnTo>
                    <a:pt x="1608" y="705"/>
                  </a:lnTo>
                  <a:lnTo>
                    <a:pt x="1608" y="705"/>
                  </a:lnTo>
                  <a:lnTo>
                    <a:pt x="1607" y="701"/>
                  </a:lnTo>
                  <a:lnTo>
                    <a:pt x="1607" y="696"/>
                  </a:lnTo>
                  <a:lnTo>
                    <a:pt x="1610" y="692"/>
                  </a:lnTo>
                  <a:lnTo>
                    <a:pt x="1613" y="689"/>
                  </a:lnTo>
                  <a:lnTo>
                    <a:pt x="1613" y="689"/>
                  </a:lnTo>
                  <a:lnTo>
                    <a:pt x="1622" y="686"/>
                  </a:lnTo>
                  <a:lnTo>
                    <a:pt x="1629" y="684"/>
                  </a:lnTo>
                  <a:lnTo>
                    <a:pt x="1637" y="686"/>
                  </a:lnTo>
                  <a:lnTo>
                    <a:pt x="1646" y="689"/>
                  </a:lnTo>
                  <a:lnTo>
                    <a:pt x="1646" y="689"/>
                  </a:lnTo>
                  <a:lnTo>
                    <a:pt x="1652" y="693"/>
                  </a:lnTo>
                  <a:lnTo>
                    <a:pt x="1655" y="699"/>
                  </a:lnTo>
                  <a:lnTo>
                    <a:pt x="1658" y="707"/>
                  </a:lnTo>
                  <a:lnTo>
                    <a:pt x="1658" y="714"/>
                  </a:lnTo>
                  <a:lnTo>
                    <a:pt x="1658" y="714"/>
                  </a:lnTo>
                  <a:lnTo>
                    <a:pt x="1655" y="728"/>
                  </a:lnTo>
                  <a:lnTo>
                    <a:pt x="1652" y="742"/>
                  </a:lnTo>
                  <a:lnTo>
                    <a:pt x="1652" y="742"/>
                  </a:lnTo>
                  <a:lnTo>
                    <a:pt x="1650" y="751"/>
                  </a:lnTo>
                  <a:lnTo>
                    <a:pt x="1652" y="757"/>
                  </a:lnTo>
                  <a:lnTo>
                    <a:pt x="1656" y="761"/>
                  </a:lnTo>
                  <a:lnTo>
                    <a:pt x="1664" y="766"/>
                  </a:lnTo>
                  <a:lnTo>
                    <a:pt x="1664" y="766"/>
                  </a:lnTo>
                  <a:lnTo>
                    <a:pt x="1676" y="770"/>
                  </a:lnTo>
                  <a:lnTo>
                    <a:pt x="1684" y="776"/>
                  </a:lnTo>
                  <a:lnTo>
                    <a:pt x="1690" y="781"/>
                  </a:lnTo>
                  <a:lnTo>
                    <a:pt x="1691" y="787"/>
                  </a:lnTo>
                  <a:lnTo>
                    <a:pt x="1691" y="793"/>
                  </a:lnTo>
                  <a:lnTo>
                    <a:pt x="1688" y="800"/>
                  </a:lnTo>
                  <a:lnTo>
                    <a:pt x="1682" y="808"/>
                  </a:lnTo>
                  <a:lnTo>
                    <a:pt x="1674" y="817"/>
                  </a:lnTo>
                  <a:lnTo>
                    <a:pt x="1674" y="817"/>
                  </a:lnTo>
                  <a:lnTo>
                    <a:pt x="1667" y="825"/>
                  </a:lnTo>
                  <a:lnTo>
                    <a:pt x="1662" y="834"/>
                  </a:lnTo>
                  <a:lnTo>
                    <a:pt x="1661" y="843"/>
                  </a:lnTo>
                  <a:lnTo>
                    <a:pt x="1662" y="853"/>
                  </a:lnTo>
                  <a:lnTo>
                    <a:pt x="1662" y="853"/>
                  </a:lnTo>
                  <a:lnTo>
                    <a:pt x="1673" y="887"/>
                  </a:lnTo>
                  <a:lnTo>
                    <a:pt x="1685" y="920"/>
                  </a:lnTo>
                  <a:lnTo>
                    <a:pt x="1693" y="935"/>
                  </a:lnTo>
                  <a:lnTo>
                    <a:pt x="1702" y="950"/>
                  </a:lnTo>
                  <a:lnTo>
                    <a:pt x="1711" y="965"/>
                  </a:lnTo>
                  <a:lnTo>
                    <a:pt x="1720" y="979"/>
                  </a:lnTo>
                  <a:lnTo>
                    <a:pt x="1720" y="979"/>
                  </a:lnTo>
                  <a:lnTo>
                    <a:pt x="1726" y="986"/>
                  </a:lnTo>
                  <a:lnTo>
                    <a:pt x="1733" y="992"/>
                  </a:lnTo>
                  <a:lnTo>
                    <a:pt x="1741" y="995"/>
                  </a:lnTo>
                  <a:lnTo>
                    <a:pt x="1751" y="995"/>
                  </a:lnTo>
                  <a:lnTo>
                    <a:pt x="1751" y="995"/>
                  </a:lnTo>
                  <a:lnTo>
                    <a:pt x="1765" y="995"/>
                  </a:lnTo>
                  <a:lnTo>
                    <a:pt x="1777" y="997"/>
                  </a:lnTo>
                  <a:lnTo>
                    <a:pt x="1777" y="997"/>
                  </a:lnTo>
                  <a:lnTo>
                    <a:pt x="1789" y="1000"/>
                  </a:lnTo>
                  <a:lnTo>
                    <a:pt x="1794" y="1001"/>
                  </a:lnTo>
                  <a:lnTo>
                    <a:pt x="1798" y="1004"/>
                  </a:lnTo>
                  <a:lnTo>
                    <a:pt x="1803" y="1007"/>
                  </a:lnTo>
                  <a:lnTo>
                    <a:pt x="1804" y="1012"/>
                  </a:lnTo>
                  <a:lnTo>
                    <a:pt x="1806" y="1018"/>
                  </a:lnTo>
                  <a:lnTo>
                    <a:pt x="1807" y="1024"/>
                  </a:lnTo>
                  <a:lnTo>
                    <a:pt x="1807" y="1024"/>
                  </a:lnTo>
                  <a:lnTo>
                    <a:pt x="1809" y="1032"/>
                  </a:lnTo>
                  <a:lnTo>
                    <a:pt x="1812" y="1036"/>
                  </a:lnTo>
                  <a:lnTo>
                    <a:pt x="1818" y="1039"/>
                  </a:lnTo>
                  <a:lnTo>
                    <a:pt x="1824" y="1039"/>
                  </a:lnTo>
                  <a:lnTo>
                    <a:pt x="1824" y="1039"/>
                  </a:lnTo>
                  <a:lnTo>
                    <a:pt x="1833" y="1039"/>
                  </a:lnTo>
                  <a:lnTo>
                    <a:pt x="1842" y="1036"/>
                  </a:lnTo>
                  <a:lnTo>
                    <a:pt x="1859" y="1030"/>
                  </a:lnTo>
                  <a:lnTo>
                    <a:pt x="1859" y="1030"/>
                  </a:lnTo>
                  <a:lnTo>
                    <a:pt x="1872" y="1027"/>
                  </a:lnTo>
                  <a:lnTo>
                    <a:pt x="1877" y="1029"/>
                  </a:lnTo>
                  <a:lnTo>
                    <a:pt x="1883" y="1029"/>
                  </a:lnTo>
                  <a:lnTo>
                    <a:pt x="1886" y="1032"/>
                  </a:lnTo>
                  <a:lnTo>
                    <a:pt x="1890" y="1036"/>
                  </a:lnTo>
                  <a:lnTo>
                    <a:pt x="1898" y="1047"/>
                  </a:lnTo>
                  <a:lnTo>
                    <a:pt x="1898" y="1047"/>
                  </a:lnTo>
                  <a:lnTo>
                    <a:pt x="1902" y="1057"/>
                  </a:lnTo>
                  <a:lnTo>
                    <a:pt x="1907" y="1068"/>
                  </a:lnTo>
                  <a:lnTo>
                    <a:pt x="1912" y="1087"/>
                  </a:lnTo>
                  <a:lnTo>
                    <a:pt x="1916" y="1110"/>
                  </a:lnTo>
                  <a:lnTo>
                    <a:pt x="1919" y="1131"/>
                  </a:lnTo>
                  <a:lnTo>
                    <a:pt x="1919" y="1131"/>
                  </a:lnTo>
                  <a:lnTo>
                    <a:pt x="1925" y="1172"/>
                  </a:lnTo>
                  <a:lnTo>
                    <a:pt x="1925" y="1172"/>
                  </a:lnTo>
                  <a:lnTo>
                    <a:pt x="1927" y="1181"/>
                  </a:lnTo>
                  <a:lnTo>
                    <a:pt x="1931" y="1190"/>
                  </a:lnTo>
                  <a:lnTo>
                    <a:pt x="1936" y="1198"/>
                  </a:lnTo>
                  <a:lnTo>
                    <a:pt x="1943" y="1205"/>
                  </a:lnTo>
                  <a:lnTo>
                    <a:pt x="1943" y="1205"/>
                  </a:lnTo>
                  <a:lnTo>
                    <a:pt x="1949" y="1210"/>
                  </a:lnTo>
                  <a:lnTo>
                    <a:pt x="1954" y="1214"/>
                  </a:lnTo>
                  <a:lnTo>
                    <a:pt x="1955" y="1220"/>
                  </a:lnTo>
                  <a:lnTo>
                    <a:pt x="1957" y="1225"/>
                  </a:lnTo>
                  <a:lnTo>
                    <a:pt x="1957" y="1229"/>
                  </a:lnTo>
                  <a:lnTo>
                    <a:pt x="1955" y="1235"/>
                  </a:lnTo>
                  <a:lnTo>
                    <a:pt x="1949" y="1248"/>
                  </a:lnTo>
                  <a:lnTo>
                    <a:pt x="1949" y="1248"/>
                  </a:lnTo>
                  <a:lnTo>
                    <a:pt x="1945" y="1252"/>
                  </a:lnTo>
                  <a:lnTo>
                    <a:pt x="1942" y="1257"/>
                  </a:lnTo>
                  <a:lnTo>
                    <a:pt x="1942" y="1260"/>
                  </a:lnTo>
                  <a:lnTo>
                    <a:pt x="1942" y="1263"/>
                  </a:lnTo>
                  <a:lnTo>
                    <a:pt x="1943" y="1266"/>
                  </a:lnTo>
                  <a:lnTo>
                    <a:pt x="1946" y="1269"/>
                  </a:lnTo>
                  <a:lnTo>
                    <a:pt x="1946" y="1269"/>
                  </a:lnTo>
                  <a:lnTo>
                    <a:pt x="1949" y="1272"/>
                  </a:lnTo>
                  <a:lnTo>
                    <a:pt x="1949" y="1276"/>
                  </a:lnTo>
                  <a:lnTo>
                    <a:pt x="1946" y="1279"/>
                  </a:lnTo>
                  <a:lnTo>
                    <a:pt x="1942" y="1282"/>
                  </a:lnTo>
                  <a:lnTo>
                    <a:pt x="1942" y="1282"/>
                  </a:lnTo>
                  <a:lnTo>
                    <a:pt x="1933" y="1284"/>
                  </a:lnTo>
                  <a:lnTo>
                    <a:pt x="1924" y="1284"/>
                  </a:lnTo>
                  <a:lnTo>
                    <a:pt x="1924" y="1284"/>
                  </a:lnTo>
                  <a:lnTo>
                    <a:pt x="1915" y="1284"/>
                  </a:lnTo>
                  <a:lnTo>
                    <a:pt x="1907" y="1287"/>
                  </a:lnTo>
                  <a:lnTo>
                    <a:pt x="1899" y="1291"/>
                  </a:lnTo>
                  <a:lnTo>
                    <a:pt x="1893" y="1296"/>
                  </a:lnTo>
                  <a:lnTo>
                    <a:pt x="1893" y="1296"/>
                  </a:lnTo>
                  <a:lnTo>
                    <a:pt x="1877" y="1312"/>
                  </a:lnTo>
                  <a:lnTo>
                    <a:pt x="1877" y="1312"/>
                  </a:lnTo>
                  <a:lnTo>
                    <a:pt x="1869" y="1320"/>
                  </a:lnTo>
                  <a:lnTo>
                    <a:pt x="1862" y="1325"/>
                  </a:lnTo>
                  <a:lnTo>
                    <a:pt x="1854" y="1329"/>
                  </a:lnTo>
                  <a:lnTo>
                    <a:pt x="1847" y="1331"/>
                  </a:lnTo>
                  <a:lnTo>
                    <a:pt x="1839" y="1331"/>
                  </a:lnTo>
                  <a:lnTo>
                    <a:pt x="1831" y="1329"/>
                  </a:lnTo>
                  <a:lnTo>
                    <a:pt x="1822" y="1326"/>
                  </a:lnTo>
                  <a:lnTo>
                    <a:pt x="1813" y="1320"/>
                  </a:lnTo>
                  <a:lnTo>
                    <a:pt x="1813" y="1320"/>
                  </a:lnTo>
                  <a:lnTo>
                    <a:pt x="1806" y="1315"/>
                  </a:lnTo>
                  <a:lnTo>
                    <a:pt x="1798" y="1311"/>
                  </a:lnTo>
                  <a:lnTo>
                    <a:pt x="1789" y="1309"/>
                  </a:lnTo>
                  <a:lnTo>
                    <a:pt x="1782" y="1308"/>
                  </a:lnTo>
                  <a:lnTo>
                    <a:pt x="1774" y="1309"/>
                  </a:lnTo>
                  <a:lnTo>
                    <a:pt x="1767" y="1311"/>
                  </a:lnTo>
                  <a:lnTo>
                    <a:pt x="1758" y="1315"/>
                  </a:lnTo>
                  <a:lnTo>
                    <a:pt x="1750" y="1320"/>
                  </a:lnTo>
                  <a:lnTo>
                    <a:pt x="1750" y="1320"/>
                  </a:lnTo>
                  <a:lnTo>
                    <a:pt x="1742" y="1325"/>
                  </a:lnTo>
                  <a:lnTo>
                    <a:pt x="1738" y="1326"/>
                  </a:lnTo>
                  <a:lnTo>
                    <a:pt x="1732" y="1328"/>
                  </a:lnTo>
                  <a:lnTo>
                    <a:pt x="1727" y="1328"/>
                  </a:lnTo>
                  <a:lnTo>
                    <a:pt x="1723" y="1326"/>
                  </a:lnTo>
                  <a:lnTo>
                    <a:pt x="1718" y="1323"/>
                  </a:lnTo>
                  <a:lnTo>
                    <a:pt x="1708" y="1312"/>
                  </a:lnTo>
                  <a:lnTo>
                    <a:pt x="1708" y="1312"/>
                  </a:lnTo>
                  <a:lnTo>
                    <a:pt x="1705" y="1308"/>
                  </a:lnTo>
                  <a:lnTo>
                    <a:pt x="1700" y="1306"/>
                  </a:lnTo>
                  <a:lnTo>
                    <a:pt x="1696" y="1306"/>
                  </a:lnTo>
                  <a:lnTo>
                    <a:pt x="1691" y="1306"/>
                  </a:lnTo>
                  <a:lnTo>
                    <a:pt x="1691" y="1306"/>
                  </a:lnTo>
                  <a:lnTo>
                    <a:pt x="1677" y="1312"/>
                  </a:lnTo>
                  <a:lnTo>
                    <a:pt x="1665" y="1320"/>
                  </a:lnTo>
                  <a:lnTo>
                    <a:pt x="1665" y="1320"/>
                  </a:lnTo>
                  <a:lnTo>
                    <a:pt x="1659" y="1326"/>
                  </a:lnTo>
                  <a:lnTo>
                    <a:pt x="1656" y="1332"/>
                  </a:lnTo>
                  <a:lnTo>
                    <a:pt x="1655" y="1335"/>
                  </a:lnTo>
                  <a:lnTo>
                    <a:pt x="1656" y="1338"/>
                  </a:lnTo>
                  <a:lnTo>
                    <a:pt x="1659" y="1346"/>
                  </a:lnTo>
                  <a:lnTo>
                    <a:pt x="1659" y="1346"/>
                  </a:lnTo>
                  <a:lnTo>
                    <a:pt x="1664" y="1352"/>
                  </a:lnTo>
                  <a:lnTo>
                    <a:pt x="1665" y="1356"/>
                  </a:lnTo>
                  <a:lnTo>
                    <a:pt x="1667" y="1362"/>
                  </a:lnTo>
                  <a:lnTo>
                    <a:pt x="1665" y="1367"/>
                  </a:lnTo>
                  <a:lnTo>
                    <a:pt x="1664" y="1371"/>
                  </a:lnTo>
                  <a:lnTo>
                    <a:pt x="1662" y="1376"/>
                  </a:lnTo>
                  <a:lnTo>
                    <a:pt x="1655" y="1386"/>
                  </a:lnTo>
                  <a:lnTo>
                    <a:pt x="1655" y="1386"/>
                  </a:lnTo>
                  <a:lnTo>
                    <a:pt x="1646" y="1394"/>
                  </a:lnTo>
                  <a:lnTo>
                    <a:pt x="1637" y="1402"/>
                  </a:lnTo>
                  <a:lnTo>
                    <a:pt x="1637" y="1402"/>
                  </a:lnTo>
                  <a:lnTo>
                    <a:pt x="1628" y="1411"/>
                  </a:lnTo>
                  <a:lnTo>
                    <a:pt x="1619" y="1420"/>
                  </a:lnTo>
                  <a:lnTo>
                    <a:pt x="1613" y="1432"/>
                  </a:lnTo>
                  <a:lnTo>
                    <a:pt x="1608" y="1445"/>
                  </a:lnTo>
                  <a:lnTo>
                    <a:pt x="1608" y="1445"/>
                  </a:lnTo>
                  <a:lnTo>
                    <a:pt x="1605" y="1454"/>
                  </a:lnTo>
                  <a:lnTo>
                    <a:pt x="1602" y="1462"/>
                  </a:lnTo>
                  <a:lnTo>
                    <a:pt x="1596" y="1470"/>
                  </a:lnTo>
                  <a:lnTo>
                    <a:pt x="1591" y="1474"/>
                  </a:lnTo>
                  <a:lnTo>
                    <a:pt x="1584" y="1479"/>
                  </a:lnTo>
                  <a:lnTo>
                    <a:pt x="1576" y="1483"/>
                  </a:lnTo>
                  <a:lnTo>
                    <a:pt x="1567" y="1485"/>
                  </a:lnTo>
                  <a:lnTo>
                    <a:pt x="1558" y="1486"/>
                  </a:lnTo>
                  <a:lnTo>
                    <a:pt x="1558" y="1486"/>
                  </a:lnTo>
                  <a:close/>
                </a:path>
              </a:pathLst>
            </a:custGeom>
            <a:grpFill/>
            <a:ln w="9525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cs-CZ" dirty="0"/>
            </a:p>
          </p:txBody>
        </p:sp>
      </p:grpSp>
      <p:sp>
        <p:nvSpPr>
          <p:cNvPr id="4" name="Ovál 3">
            <a:extLst>
              <a:ext uri="{FF2B5EF4-FFF2-40B4-BE49-F238E27FC236}">
                <a16:creationId xmlns:a16="http://schemas.microsoft.com/office/drawing/2014/main" id="{3CD27478-8537-58C8-42D7-CF7402CA51EC}"/>
              </a:ext>
            </a:extLst>
          </p:cNvPr>
          <p:cNvSpPr/>
          <p:nvPr/>
        </p:nvSpPr>
        <p:spPr>
          <a:xfrm>
            <a:off x="1973746" y="1932414"/>
            <a:ext cx="116006" cy="110151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6" name="Ovál 5">
            <a:extLst>
              <a:ext uri="{FF2B5EF4-FFF2-40B4-BE49-F238E27FC236}">
                <a16:creationId xmlns:a16="http://schemas.microsoft.com/office/drawing/2014/main" id="{89AF84E7-0958-110A-2991-F1AB372E19DC}"/>
              </a:ext>
            </a:extLst>
          </p:cNvPr>
          <p:cNvSpPr/>
          <p:nvPr/>
        </p:nvSpPr>
        <p:spPr>
          <a:xfrm>
            <a:off x="1670628" y="3216236"/>
            <a:ext cx="116006" cy="110151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cxnSp>
        <p:nvCxnSpPr>
          <p:cNvPr id="8" name="Přímá spojnice se šipkou 7">
            <a:extLst>
              <a:ext uri="{FF2B5EF4-FFF2-40B4-BE49-F238E27FC236}">
                <a16:creationId xmlns:a16="http://schemas.microsoft.com/office/drawing/2014/main" id="{C9A89115-CC52-8261-717D-0BC26ED7010B}"/>
              </a:ext>
            </a:extLst>
          </p:cNvPr>
          <p:cNvCxnSpPr>
            <a:cxnSpLocks/>
          </p:cNvCxnSpPr>
          <p:nvPr/>
        </p:nvCxnSpPr>
        <p:spPr>
          <a:xfrm flipH="1">
            <a:off x="1756387" y="2054426"/>
            <a:ext cx="254308" cy="113218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ovéPole 9">
            <a:extLst>
              <a:ext uri="{FF2B5EF4-FFF2-40B4-BE49-F238E27FC236}">
                <a16:creationId xmlns:a16="http://schemas.microsoft.com/office/drawing/2014/main" id="{FCD00A38-C36E-5CAF-0C54-BE544B45CADB}"/>
              </a:ext>
            </a:extLst>
          </p:cNvPr>
          <p:cNvSpPr txBox="1"/>
          <p:nvPr/>
        </p:nvSpPr>
        <p:spPr>
          <a:xfrm>
            <a:off x="2047133" y="2019516"/>
            <a:ext cx="169232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100" dirty="0"/>
              <a:t>Mladá Boleslav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314C75F5-3945-16E1-842C-21DCB4CF43DF}"/>
              </a:ext>
            </a:extLst>
          </p:cNvPr>
          <p:cNvSpPr txBox="1"/>
          <p:nvPr/>
        </p:nvSpPr>
        <p:spPr>
          <a:xfrm>
            <a:off x="1212794" y="3124648"/>
            <a:ext cx="252483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100" dirty="0"/>
              <a:t>České </a:t>
            </a:r>
          </a:p>
          <a:p>
            <a:r>
              <a:rPr lang="cs-CZ" sz="1100" dirty="0"/>
              <a:t>Budějovice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C3E05306-003F-5942-010A-272C4E99AC03}"/>
              </a:ext>
            </a:extLst>
          </p:cNvPr>
          <p:cNvSpPr txBox="1"/>
          <p:nvPr/>
        </p:nvSpPr>
        <p:spPr>
          <a:xfrm>
            <a:off x="1895586" y="2463886"/>
            <a:ext cx="190974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100" dirty="0"/>
              <a:t>165 km</a:t>
            </a:r>
          </a:p>
        </p:txBody>
      </p:sp>
      <p:pic>
        <p:nvPicPr>
          <p:cNvPr id="22" name="Obrázek 21">
            <a:extLst>
              <a:ext uri="{FF2B5EF4-FFF2-40B4-BE49-F238E27FC236}">
                <a16:creationId xmlns:a16="http://schemas.microsoft.com/office/drawing/2014/main" id="{2DC34987-8CBE-8DB3-9C91-5688F46AB4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19070" y="5011"/>
            <a:ext cx="6072743" cy="6011863"/>
          </a:xfrm>
          <a:prstGeom prst="rect">
            <a:avLst/>
          </a:prstGeom>
        </p:spPr>
      </p:pic>
      <p:sp>
        <p:nvSpPr>
          <p:cNvPr id="24" name="Rovnoramenný trojúhelník 23">
            <a:extLst>
              <a:ext uri="{FF2B5EF4-FFF2-40B4-BE49-F238E27FC236}">
                <a16:creationId xmlns:a16="http://schemas.microsoft.com/office/drawing/2014/main" id="{7A99BE64-41E6-251D-A1B6-E07D4CA4C369}"/>
              </a:ext>
            </a:extLst>
          </p:cNvPr>
          <p:cNvSpPr/>
          <p:nvPr/>
        </p:nvSpPr>
        <p:spPr>
          <a:xfrm rot="10800000">
            <a:off x="4604752" y="0"/>
            <a:ext cx="1610625" cy="6409625"/>
          </a:xfrm>
          <a:prstGeom prst="triangle">
            <a:avLst>
              <a:gd name="adj" fmla="val 100000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25" name="Picture 62" descr="A blue car with a black background&#10;&#10;Description automatically generated with low confidence">
            <a:extLst>
              <a:ext uri="{FF2B5EF4-FFF2-40B4-BE49-F238E27FC236}">
                <a16:creationId xmlns:a16="http://schemas.microsoft.com/office/drawing/2014/main" id="{9B657199-772E-8B7D-41B9-FD351E65B80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3242" y="4383531"/>
            <a:ext cx="2619047" cy="9755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314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r="14000" b="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907AC6-5C2F-4C00-0EF8-B751687BA2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262" y="3849624"/>
            <a:ext cx="7686737" cy="993906"/>
          </a:xfrm>
        </p:spPr>
        <p:txBody>
          <a:bodyPr anchor="b">
            <a:normAutofit/>
          </a:bodyPr>
          <a:lstStyle/>
          <a:p>
            <a:r>
              <a:rPr lang="en-GB" sz="4000" dirty="0" err="1">
                <a:solidFill>
                  <a:srgbClr val="0E3A2F"/>
                </a:solidFill>
              </a:rPr>
              <a:t>Aktuální</a:t>
            </a:r>
            <a:r>
              <a:rPr lang="en-GB" sz="4000" dirty="0">
                <a:solidFill>
                  <a:srgbClr val="0E3A2F"/>
                </a:solidFill>
              </a:rPr>
              <a:t> </a:t>
            </a:r>
            <a:r>
              <a:rPr lang="en-GB" sz="4000" dirty="0" err="1">
                <a:solidFill>
                  <a:srgbClr val="0E3A2F"/>
                </a:solidFill>
              </a:rPr>
              <a:t>modelová</a:t>
            </a:r>
            <a:r>
              <a:rPr lang="en-GB" sz="4000" dirty="0">
                <a:solidFill>
                  <a:srgbClr val="0E3A2F"/>
                </a:solidFill>
              </a:rPr>
              <a:t> paleta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4AAD745A-2631-9887-CED6-266E6372D43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449262" y="5778000"/>
            <a:ext cx="269960" cy="180000"/>
          </a:xfrm>
        </p:spPr>
        <p:txBody>
          <a:bodyPr/>
          <a:lstStyle/>
          <a:p>
            <a:pPr marL="0" marR="0" lvl="0" indent="0" algn="l" defTabSz="104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1E956721-BB38-4972-8ACD-5A2C9377E3B4}" type="slidenum">
              <a:rPr kumimoji="0" lang="en-GB" sz="700" b="1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SKODA Next" panose="020B0504020603020204" pitchFamily="34" charset="0"/>
                <a:ea typeface="Verdana" pitchFamily="34" charset="0"/>
              </a:rPr>
              <a:pPr marL="0" marR="0" lvl="0" indent="0" algn="l" defTabSz="104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700" b="1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SKODA Next" panose="020B0504020603020204" pitchFamily="34" charset="0"/>
              <a:ea typeface="Verdana" pitchFamily="34" charset="0"/>
            </a:endParaRPr>
          </a:p>
        </p:txBody>
      </p:sp>
      <p:sp>
        <p:nvSpPr>
          <p:cNvPr id="3" name="Slide Number Placeholder 2" hidden="1">
            <a:extLst>
              <a:ext uri="{FF2B5EF4-FFF2-40B4-BE49-F238E27FC236}">
                <a16:creationId xmlns:a16="http://schemas.microsoft.com/office/drawing/2014/main" id="{92CFB050-DC0B-E18E-BD50-0CE78C7D6F5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104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1E956721-BB38-4972-8ACD-5A2C9377E3B4}" type="slidenum">
              <a:rPr kumimoji="0" lang="en-GB" sz="700" b="1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SKODA Next" panose="020B0504020603020204" pitchFamily="34" charset="0"/>
                <a:ea typeface="Verdana" pitchFamily="34" charset="0"/>
              </a:rPr>
              <a:pPr marL="0" marR="0" lvl="0" indent="0" algn="l" defTabSz="104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700" b="1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SKODA Next" panose="020B0504020603020204" pitchFamily="34" charset="0"/>
              <a:ea typeface="Verdana" pitchFamily="34" charset="0"/>
            </a:endParaRPr>
          </a:p>
        </p:txBody>
      </p:sp>
      <p:sp>
        <p:nvSpPr>
          <p:cNvPr id="10" name="TextBox 4">
            <a:extLst>
              <a:ext uri="{FF2B5EF4-FFF2-40B4-BE49-F238E27FC236}">
                <a16:creationId xmlns:a16="http://schemas.microsoft.com/office/drawing/2014/main" id="{5C0A1E00-E38A-2947-E0B4-D931BB8AE923}"/>
              </a:ext>
            </a:extLst>
          </p:cNvPr>
          <p:cNvSpPr txBox="1"/>
          <p:nvPr/>
        </p:nvSpPr>
        <p:spPr>
          <a:xfrm>
            <a:off x="449262" y="5023530"/>
            <a:ext cx="9054299" cy="50921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/>
          <a:lstStyle/>
          <a:p>
            <a:pPr marL="0" marR="0" lvl="0" indent="12700" algn="l" defTabSz="1042742" rtl="0" eaLnBrk="1" fontAlgn="auto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en-US"/>
            </a:pPr>
            <a:r>
              <a:rPr kumimoji="0" lang="cs-CZ" sz="1600" b="0" i="0" u="none" strike="noStrike" kern="1200" cap="all" spc="0" normalizeH="0" baseline="0" noProof="0" dirty="0">
                <a:ln>
                  <a:noFill/>
                </a:ln>
                <a:solidFill>
                  <a:srgbClr val="0E3A2F"/>
                </a:solidFill>
                <a:effectLst/>
                <a:uLnTx/>
                <a:uFillTx/>
                <a:latin typeface="SKODA Next Light" charset="77"/>
                <a:ea typeface="SKODA Next Light" charset="77"/>
                <a:cs typeface="SKODA Next Light" charset="77"/>
              </a:rPr>
              <a:t>jedenáct MODELOVÝCH ŘAD PRO VŠECHNY </a:t>
            </a:r>
            <a:r>
              <a:rPr kumimoji="0" lang="cs-CZ" sz="1600" b="0" i="0" u="none" strike="noStrike" kern="1200" cap="all" spc="0" normalizeH="0" baseline="0" noProof="0" dirty="0" err="1">
                <a:ln>
                  <a:noFill/>
                </a:ln>
                <a:solidFill>
                  <a:srgbClr val="0E3A2F"/>
                </a:solidFill>
                <a:effectLst/>
                <a:uLnTx/>
                <a:uFillTx/>
                <a:latin typeface="SKODA Next Light" charset="77"/>
                <a:ea typeface="SKODA Next Light" charset="77"/>
                <a:cs typeface="SKODA Next Light" charset="77"/>
              </a:rPr>
              <a:t>POTřeby</a:t>
            </a:r>
            <a:r>
              <a:rPr kumimoji="0" lang="cs-CZ" sz="1600" b="0" i="0" u="none" strike="noStrike" kern="1200" cap="all" spc="0" normalizeH="0" baseline="0" noProof="0" dirty="0">
                <a:ln>
                  <a:noFill/>
                </a:ln>
                <a:solidFill>
                  <a:srgbClr val="0E3A2F"/>
                </a:solidFill>
                <a:effectLst/>
                <a:uLnTx/>
                <a:uFillTx/>
                <a:latin typeface="SKODA Next Light" charset="77"/>
                <a:ea typeface="SKODA Next Light" charset="77"/>
                <a:cs typeface="SKODA Next Light" charset="77"/>
              </a:rPr>
              <a:t> ZÁKAZNÍKŮ</a:t>
            </a:r>
            <a:endParaRPr kumimoji="0" lang="de-DE" sz="1600" b="0" i="0" u="none" strike="noStrike" kern="1200" cap="all" spc="0" normalizeH="0" baseline="0" noProof="0" dirty="0">
              <a:ln>
                <a:noFill/>
              </a:ln>
              <a:solidFill>
                <a:srgbClr val="0E3A2F"/>
              </a:solidFill>
              <a:effectLst/>
              <a:uLnTx/>
              <a:uFillTx/>
              <a:latin typeface="SKODA Next Light" charset="77"/>
              <a:ea typeface="SKODA Next Light" charset="77"/>
              <a:cs typeface="SKODA Next Light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0440517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7ED34C4D-C7F6-B6B0-E980-91187767DD7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dirty="0"/>
              <a:t>Nástup: 1.2. 2022 ( již odborná praxe bakalářské studium)</a:t>
            </a:r>
          </a:p>
          <a:p>
            <a:r>
              <a:rPr lang="cs-CZ" b="0" i="0" dirty="0">
                <a:solidFill>
                  <a:srgbClr val="000000"/>
                </a:solidFill>
                <a:effectLst/>
                <a:latin typeface="SKODA Next" panose="020B0504020603020204"/>
              </a:rPr>
              <a:t>Útvar: GQD-1 – Řízení kval</a:t>
            </a:r>
            <a:r>
              <a:rPr lang="cs-CZ" dirty="0">
                <a:solidFill>
                  <a:srgbClr val="000000"/>
                </a:solidFill>
                <a:latin typeface="SKODA Next" panose="020B0504020603020204"/>
              </a:rPr>
              <a:t>ity</a:t>
            </a:r>
            <a:r>
              <a:rPr lang="cs-CZ" b="0" i="0" dirty="0">
                <a:solidFill>
                  <a:srgbClr val="000000"/>
                </a:solidFill>
                <a:effectLst/>
                <a:latin typeface="SKODA Next" panose="020B0504020603020204"/>
              </a:rPr>
              <a:t> techniky prod</a:t>
            </a:r>
            <a:r>
              <a:rPr lang="cs-CZ" dirty="0">
                <a:solidFill>
                  <a:srgbClr val="000000"/>
                </a:solidFill>
                <a:latin typeface="SKODA Next" panose="020B0504020603020204"/>
              </a:rPr>
              <a:t>uktu</a:t>
            </a:r>
            <a:r>
              <a:rPr lang="cs-CZ" b="0" i="0" dirty="0">
                <a:solidFill>
                  <a:srgbClr val="000000"/>
                </a:solidFill>
                <a:effectLst/>
                <a:latin typeface="SKODA Next" panose="020B0504020603020204"/>
              </a:rPr>
              <a:t>-interiér &amp; exteriér</a:t>
            </a:r>
          </a:p>
          <a:p>
            <a:r>
              <a:rPr lang="cs-CZ" dirty="0">
                <a:solidFill>
                  <a:srgbClr val="000000"/>
                </a:solidFill>
              </a:rPr>
              <a:t>Pozice: </a:t>
            </a:r>
            <a:r>
              <a:rPr lang="cs-CZ" dirty="0"/>
              <a:t>Datové analýzy ze zákaznické sítě</a:t>
            </a:r>
          </a:p>
          <a:p>
            <a:endParaRPr lang="cs-CZ" dirty="0"/>
          </a:p>
          <a:p>
            <a:r>
              <a:rPr lang="cs-CZ" dirty="0"/>
              <a:t>Náplň práce: </a:t>
            </a:r>
          </a:p>
          <a:p>
            <a:pPr lvl="7">
              <a:buFont typeface="Wingdings" panose="05000000000000000000" pitchFamily="2" charset="2"/>
              <a:buChar char="§"/>
            </a:pPr>
            <a:r>
              <a:rPr lang="cs-CZ" dirty="0"/>
              <a:t>Stahování dat (závad) z celého světa</a:t>
            </a:r>
          </a:p>
          <a:p>
            <a:pPr lvl="7">
              <a:buFont typeface="Wingdings" panose="05000000000000000000" pitchFamily="2" charset="2"/>
              <a:buChar char="§"/>
            </a:pPr>
            <a:r>
              <a:rPr lang="cs-CZ" dirty="0"/>
              <a:t>Zpracování reklamací do reportů a zaslání dle jednotlivých </a:t>
            </a:r>
            <a:r>
              <a:rPr lang="cs-CZ" dirty="0" err="1"/>
              <a:t>SETů</a:t>
            </a:r>
            <a:endParaRPr lang="cs-CZ" dirty="0"/>
          </a:p>
          <a:p>
            <a:pPr lvl="7">
              <a:buFont typeface="Wingdings" panose="05000000000000000000" pitchFamily="2" charset="2"/>
              <a:buChar char="§"/>
            </a:pPr>
            <a:r>
              <a:rPr lang="cs-CZ" dirty="0"/>
              <a:t>Stanovení návrhů a opatření na dané závady</a:t>
            </a:r>
          </a:p>
          <a:p>
            <a:pPr lvl="7">
              <a:buFont typeface="Wingdings" panose="05000000000000000000" pitchFamily="2" charset="2"/>
              <a:buChar char="§"/>
            </a:pPr>
            <a:r>
              <a:rPr lang="cs-CZ" dirty="0"/>
              <a:t>Služební cesty do certifikovaných servisů na základě analýz v ČR</a:t>
            </a:r>
          </a:p>
          <a:p>
            <a:pPr lvl="7">
              <a:buFont typeface="Wingdings" panose="05000000000000000000" pitchFamily="2" charset="2"/>
              <a:buChar char="§"/>
            </a:pPr>
            <a:r>
              <a:rPr lang="cs-CZ" dirty="0"/>
              <a:t>Jízdní zkoušky – analýza prototypových a opatřovacích dílů</a:t>
            </a:r>
          </a:p>
          <a:p>
            <a:pPr lvl="7">
              <a:buFont typeface="Wingdings" panose="05000000000000000000" pitchFamily="2" charset="2"/>
              <a:buChar char="§"/>
            </a:pPr>
            <a:r>
              <a:rPr lang="cs-CZ" dirty="0"/>
              <a:t>Měsíční zpráva (</a:t>
            </a:r>
            <a:r>
              <a:rPr lang="cs-CZ" dirty="0" err="1"/>
              <a:t>Monatsbericht</a:t>
            </a:r>
            <a:r>
              <a:rPr lang="cs-CZ" dirty="0"/>
              <a:t>) zaslání na TOP management</a:t>
            </a:r>
          </a:p>
          <a:p>
            <a:pPr lvl="7">
              <a:buFont typeface="Wingdings" panose="05000000000000000000" pitchFamily="2" charset="2"/>
              <a:buChar char="§"/>
            </a:pPr>
            <a:r>
              <a:rPr lang="cs-CZ" dirty="0"/>
              <a:t>Komunikace s dodavateli dílů a audit výrobních procesů</a:t>
            </a:r>
          </a:p>
          <a:p>
            <a:pPr lvl="7">
              <a:buFont typeface="Wingdings" panose="05000000000000000000" pitchFamily="2" charset="2"/>
              <a:buChar char="§"/>
            </a:pPr>
            <a:r>
              <a:rPr lang="cs-CZ" dirty="0"/>
              <a:t>Schvalování prototypových dílů od oddělení – Vývoj vozu</a:t>
            </a:r>
          </a:p>
          <a:p>
            <a:pPr lvl="7">
              <a:buFont typeface="Wingdings" panose="05000000000000000000" pitchFamily="2" charset="2"/>
              <a:buChar char="§"/>
            </a:pPr>
            <a:endParaRPr lang="cs-CZ" dirty="0"/>
          </a:p>
          <a:p>
            <a:pPr lvl="7">
              <a:buFont typeface="Wingdings" panose="05000000000000000000" pitchFamily="2" charset="2"/>
              <a:buChar char="§"/>
            </a:pPr>
            <a:endParaRPr lang="cs-CZ" dirty="0"/>
          </a:p>
          <a:p>
            <a:pPr lvl="7">
              <a:buFont typeface="Wingdings" panose="05000000000000000000" pitchFamily="2" charset="2"/>
              <a:buChar char="§"/>
            </a:pPr>
            <a:endParaRPr lang="cs-CZ" dirty="0"/>
          </a:p>
          <a:p>
            <a:pPr>
              <a:buFont typeface="Wingdings" panose="05000000000000000000" pitchFamily="2" charset="2"/>
              <a:buChar char="§"/>
            </a:pPr>
            <a:endParaRPr lang="cs-CZ" dirty="0"/>
          </a:p>
          <a:p>
            <a:endParaRPr lang="cs-CZ" dirty="0"/>
          </a:p>
          <a:p>
            <a:endParaRPr lang="cs-CZ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5C20102-62F0-F19C-CDDC-02E5D738559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956721-BB38-4972-8ACD-5A2C9377E3B4}" type="slidenum">
              <a:rPr lang="cs-CZ" smtClean="0"/>
              <a:pPr/>
              <a:t>5</a:t>
            </a:fld>
            <a:endParaRPr lang="cs-CZ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028556B-7267-29C9-ED2F-93594A7B2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dirty="0"/>
              <a:t>| 08.11. 2023 | Odborná praxe | GQD-1 | Ondřej Hlaváček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EA55CC9-EA77-56AD-E1EF-C36296BBC8B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cs-CZ" dirty="0"/>
              <a:t>Datové analýzy ze zákaznické sítě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8B7E027-5362-4884-71C3-60B0A3CEC1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Odborná praxe ve ŠKODA AUTO a.s.</a:t>
            </a:r>
          </a:p>
        </p:txBody>
      </p:sp>
      <p:pic>
        <p:nvPicPr>
          <p:cNvPr id="5" name="Grafický objekt 4" descr="Svět se souvislou výplní">
            <a:extLst>
              <a:ext uri="{FF2B5EF4-FFF2-40B4-BE49-F238E27FC236}">
                <a16:creationId xmlns:a16="http://schemas.microsoft.com/office/drawing/2014/main" id="{1EFD1670-5A82-93DC-529F-CE0DC78701B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84736" y="2681922"/>
            <a:ext cx="324009" cy="324009"/>
          </a:xfrm>
          <a:prstGeom prst="rect">
            <a:avLst/>
          </a:prstGeom>
        </p:spPr>
      </p:pic>
      <p:pic>
        <p:nvPicPr>
          <p:cNvPr id="9" name="Picture Placeholder 17" descr="A close up of a steering wheel&#10;&#10;Description automatically generated with medium confidence">
            <a:extLst>
              <a:ext uri="{FF2B5EF4-FFF2-40B4-BE49-F238E27FC236}">
                <a16:creationId xmlns:a16="http://schemas.microsoft.com/office/drawing/2014/main" id="{75F15C5E-FD46-5116-3954-1F3D6D7B9F7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68" r="1268"/>
          <a:stretch>
            <a:fillRect/>
          </a:stretch>
        </p:blipFill>
        <p:spPr>
          <a:xfrm>
            <a:off x="7002821" y="594359"/>
            <a:ext cx="3167934" cy="2087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2923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Zástupný obsah 7" descr="Obsah obrázku text, Autodíly, kolo, katalog&#10;&#10;Popis byl vytvořen automaticky">
            <a:extLst>
              <a:ext uri="{FF2B5EF4-FFF2-40B4-BE49-F238E27FC236}">
                <a16:creationId xmlns:a16="http://schemas.microsoft.com/office/drawing/2014/main" id="{FCF73A79-7572-BF66-5562-049991AD624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069123" y="1009286"/>
            <a:ext cx="8448258" cy="4625423"/>
          </a:xfrm>
          <a:noFill/>
        </p:spPr>
      </p:pic>
      <p:sp>
        <p:nvSpPr>
          <p:cNvPr id="3" name="Zástupný symbol pro číslo snímku 2">
            <a:extLst>
              <a:ext uri="{FF2B5EF4-FFF2-40B4-BE49-F238E27FC236}">
                <a16:creationId xmlns:a16="http://schemas.microsoft.com/office/drawing/2014/main" id="{187554F1-EA84-94FA-33A5-CB4641D173C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449263" y="5598000"/>
            <a:ext cx="269960" cy="180000"/>
          </a:xfrm>
        </p:spPr>
        <p:txBody>
          <a:bodyPr anchor="b">
            <a:normAutofit/>
          </a:bodyPr>
          <a:lstStyle/>
          <a:p>
            <a:pPr>
              <a:spcAft>
                <a:spcPts val="600"/>
              </a:spcAft>
            </a:pPr>
            <a:fld id="{1E956721-BB38-4972-8ACD-5A2C9377E3B4}" type="slidenum">
              <a:rPr lang="cs-CZ" noProof="0" smtClean="0"/>
              <a:pPr>
                <a:spcAft>
                  <a:spcPts val="600"/>
                </a:spcAft>
              </a:pPr>
              <a:t>6</a:t>
            </a:fld>
            <a:endParaRPr lang="cs-CZ" noProof="0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9CF8E421-CDED-BCD8-4F16-EAB8B9BAB1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46000" y="5598000"/>
            <a:ext cx="7740788" cy="180000"/>
          </a:xfrm>
        </p:spPr>
        <p:txBody>
          <a:bodyPr anchor="b">
            <a:normAutofit/>
          </a:bodyPr>
          <a:lstStyle/>
          <a:p>
            <a:pPr>
              <a:spcAft>
                <a:spcPts val="600"/>
              </a:spcAft>
            </a:pPr>
            <a:r>
              <a:rPr lang="cs-CZ" noProof="0"/>
              <a:t>| 08.11. 2023 | Odborná praxe | GQD-1 | Ondřej Hlaváček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E05B6251-3418-EE05-4088-2519B5C1A0C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49263" y="649287"/>
            <a:ext cx="9793288" cy="360000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cs-CZ" dirty="0"/>
              <a:t>Obrázky získané z webových stránek</a:t>
            </a:r>
            <a:endParaRPr lang="cs-CZ"/>
          </a:p>
        </p:txBody>
      </p:sp>
      <p:sp>
        <p:nvSpPr>
          <p:cNvPr id="6" name="Nadpis 5">
            <a:extLst>
              <a:ext uri="{FF2B5EF4-FFF2-40B4-BE49-F238E27FC236}">
                <a16:creationId xmlns:a16="http://schemas.microsoft.com/office/drawing/2014/main" id="{59AFBD05-D410-B148-FDDB-DFF24B4F35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263" y="269875"/>
            <a:ext cx="9793287" cy="360000"/>
          </a:xfrm>
        </p:spPr>
        <p:txBody>
          <a:bodyPr anchor="t">
            <a:normAutofit/>
          </a:bodyPr>
          <a:lstStyle/>
          <a:p>
            <a:r>
              <a:rPr lang="cs-CZ" dirty="0"/>
              <a:t>Závady ze sítě</a:t>
            </a:r>
          </a:p>
        </p:txBody>
      </p:sp>
    </p:spTree>
    <p:extLst>
      <p:ext uri="{BB962C8B-B14F-4D97-AF65-F5344CB8AC3E}">
        <p14:creationId xmlns:p14="http://schemas.microsoft.com/office/powerpoint/2010/main" val="1796637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sah 1">
            <a:extLst>
              <a:ext uri="{FF2B5EF4-FFF2-40B4-BE49-F238E27FC236}">
                <a16:creationId xmlns:a16="http://schemas.microsoft.com/office/drawing/2014/main" id="{FB14A963-66BC-2A53-5278-808AC91D3EB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9263" y="876300"/>
            <a:ext cx="9793287" cy="4470400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cs-CZ" dirty="0"/>
              <a:t>Anglický jazyk (hovorová/technická) – </a:t>
            </a:r>
            <a:r>
              <a:rPr lang="pl-PL" dirty="0"/>
              <a:t>účast na jednání se zahraničními dodavateli</a:t>
            </a:r>
          </a:p>
          <a:p>
            <a:pPr>
              <a:lnSpc>
                <a:spcPct val="100000"/>
              </a:lnSpc>
            </a:pPr>
            <a:endParaRPr lang="pl-PL" dirty="0"/>
          </a:p>
          <a:p>
            <a:pPr>
              <a:lnSpc>
                <a:spcPct val="100000"/>
              </a:lnSpc>
            </a:pPr>
            <a:r>
              <a:rPr lang="pl-PL" dirty="0"/>
              <a:t>Práce v kolektivu/týmová práce a komunikace</a:t>
            </a:r>
          </a:p>
          <a:p>
            <a:pPr marL="0" indent="0">
              <a:lnSpc>
                <a:spcPct val="100000"/>
              </a:lnSpc>
              <a:buNone/>
            </a:pPr>
            <a:endParaRPr lang="pl-PL" dirty="0"/>
          </a:p>
          <a:p>
            <a:pPr>
              <a:lnSpc>
                <a:spcPct val="100000"/>
              </a:lnSpc>
            </a:pPr>
            <a:r>
              <a:rPr lang="cs-CZ" dirty="0"/>
              <a:t>Analýzy moderních materiálů aplikované v současné průmyslové praxi</a:t>
            </a:r>
          </a:p>
          <a:p>
            <a:pPr>
              <a:lnSpc>
                <a:spcPct val="100000"/>
              </a:lnSpc>
            </a:pPr>
            <a:endParaRPr lang="cs-CZ" dirty="0"/>
          </a:p>
          <a:p>
            <a:pPr>
              <a:lnSpc>
                <a:spcPct val="100000"/>
              </a:lnSpc>
            </a:pPr>
            <a:r>
              <a:rPr lang="cs-CZ" dirty="0"/>
              <a:t>Spolupráce na řízení projektů, a to včetně jejich monitorování, administrativního zpracování a hodnocení</a:t>
            </a:r>
          </a:p>
          <a:p>
            <a:pPr marL="0" indent="0">
              <a:lnSpc>
                <a:spcPct val="100000"/>
              </a:lnSpc>
              <a:buNone/>
            </a:pPr>
            <a:endParaRPr lang="cs-CZ" dirty="0"/>
          </a:p>
          <a:p>
            <a:pPr>
              <a:lnSpc>
                <a:spcPct val="100000"/>
              </a:lnSpc>
            </a:pPr>
            <a:r>
              <a:rPr lang="cs-CZ" dirty="0"/>
              <a:t>Aplikovat teoretické poznatky z operačního, výrobní a procesního managementu ve strojírenství, a to za účelem zefektivnění stávající výroby</a:t>
            </a:r>
          </a:p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endParaRPr lang="cs-CZ" dirty="0"/>
          </a:p>
        </p:txBody>
      </p:sp>
      <p:sp>
        <p:nvSpPr>
          <p:cNvPr id="3" name="Zástupný symbol pro číslo snímku 2">
            <a:extLst>
              <a:ext uri="{FF2B5EF4-FFF2-40B4-BE49-F238E27FC236}">
                <a16:creationId xmlns:a16="http://schemas.microsoft.com/office/drawing/2014/main" id="{AB053DD1-B3A9-9BD2-FEFD-7780E233733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956721-BB38-4972-8ACD-5A2C9377E3B4}" type="slidenum">
              <a:rPr lang="cs-CZ" noProof="0" smtClean="0"/>
              <a:pPr/>
              <a:t>7</a:t>
            </a:fld>
            <a:endParaRPr lang="cs-CZ" noProof="0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38024958-0CBE-1608-52A2-5F4521BC8C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 noProof="0"/>
              <a:t>| 08.11. 2023 | Odborná praxe | GQD-1 | Ondřej Hlaváček</a:t>
            </a:r>
          </a:p>
        </p:txBody>
      </p:sp>
      <p:sp>
        <p:nvSpPr>
          <p:cNvPr id="6" name="Nadpis 5">
            <a:extLst>
              <a:ext uri="{FF2B5EF4-FFF2-40B4-BE49-F238E27FC236}">
                <a16:creationId xmlns:a16="http://schemas.microsoft.com/office/drawing/2014/main" id="{05431D1C-9757-015A-5987-71520FBF4F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Dovednosti a znalosti získané odbornou praxí</a:t>
            </a:r>
          </a:p>
        </p:txBody>
      </p:sp>
      <p:pic>
        <p:nvPicPr>
          <p:cNvPr id="11" name="Picture 10" descr="A blue car parked&#10;&#10;Description automatically generated with low confidence">
            <a:extLst>
              <a:ext uri="{FF2B5EF4-FFF2-40B4-BE49-F238E27FC236}">
                <a16:creationId xmlns:a16="http://schemas.microsoft.com/office/drawing/2014/main" id="{0624E0F4-B669-8364-0FF1-25A77F60856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6151" y="957702"/>
            <a:ext cx="3206274" cy="9218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646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0950C4-CB96-B026-69A2-780A3417A3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262" y="1926000"/>
            <a:ext cx="8797095" cy="3420000"/>
          </a:xfrm>
        </p:spPr>
        <p:txBody>
          <a:bodyPr/>
          <a:lstStyle/>
          <a:p>
            <a:r>
              <a:rPr lang="cs-CZ" dirty="0"/>
              <a:t>Děkuji za pozornost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D74E944-98D7-FD7D-FE09-4DA2F5A9598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cs-CZ"/>
              <a:t>| 08.11. 2023 | Odborná praxe | GQD-1 | Ondřej Hlaváček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385BD9A-6B44-1B90-E746-3A69E89176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E956721-BB38-4972-8ACD-5A2C9377E3B4}" type="slidenum">
              <a:rPr lang="cs-CZ" smtClean="0"/>
              <a:pPr/>
              <a:t>8</a:t>
            </a:fld>
            <a:endParaRPr lang="cs-CZ"/>
          </a:p>
        </p:txBody>
      </p:sp>
      <p:pic>
        <p:nvPicPr>
          <p:cNvPr id="6" name="Grafický objekt 5" descr="Přednášející se souvislou výplní">
            <a:extLst>
              <a:ext uri="{FF2B5EF4-FFF2-40B4-BE49-F238E27FC236}">
                <a16:creationId xmlns:a16="http://schemas.microsoft.com/office/drawing/2014/main" id="{6DD0EC76-68B0-BFE7-8092-37E2B9D5B2B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126706" y="3828042"/>
            <a:ext cx="1080000" cy="1080000"/>
          </a:xfrm>
          <a:prstGeom prst="rect">
            <a:avLst/>
          </a:prstGeom>
        </p:spPr>
      </p:pic>
      <p:pic>
        <p:nvPicPr>
          <p:cNvPr id="8" name="Grafický objekt 7" descr="Učitel se souvislou výplní">
            <a:extLst>
              <a:ext uri="{FF2B5EF4-FFF2-40B4-BE49-F238E27FC236}">
                <a16:creationId xmlns:a16="http://schemas.microsoft.com/office/drawing/2014/main" id="{53DB4B5D-3F05-2E3A-27C3-0E83C41A820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429457" y="3390084"/>
            <a:ext cx="1080000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650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2DD32689-CDB8-83C9-D66D-F97E055C02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Otázky </a:t>
            </a:r>
            <a:r>
              <a:rPr lang="cs-CZ" dirty="0">
                <a:latin typeface="Calibri" panose="020F0502020204030204" pitchFamily="34" charset="0"/>
                <a:cs typeface="Calibri" panose="020F0502020204030204" pitchFamily="34" charset="0"/>
              </a:rPr>
              <a:t>&amp; odpovědi</a:t>
            </a:r>
            <a:endParaRPr lang="cs-CZ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974ABF1-6D7E-8202-AF2B-3859AE27767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cs-CZ"/>
              <a:t>| 08.11. 2023 | Odborná praxe | GQD-1 | Ondřej Hlaváček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7025E62-A95E-3179-FB8E-E54029FA722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E956721-BB38-4972-8ACD-5A2C9377E3B4}" type="slidenum">
              <a:rPr lang="cs-CZ" smtClean="0"/>
              <a:pPr/>
              <a:t>9</a:t>
            </a:fld>
            <a:endParaRPr lang="cs-CZ"/>
          </a:p>
        </p:txBody>
      </p:sp>
      <p:pic>
        <p:nvPicPr>
          <p:cNvPr id="6" name="Picture Placeholder 6" descr="A car driving on a dirt road&#10;&#10;Description automatically generated with medium confidence">
            <a:extLst>
              <a:ext uri="{FF2B5EF4-FFF2-40B4-BE49-F238E27FC236}">
                <a16:creationId xmlns:a16="http://schemas.microsoft.com/office/drawing/2014/main" id="{3E49C8F0-9C56-53B5-E04B-0455D8DD7A70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830" r="17830"/>
          <a:stretch>
            <a:fillRect/>
          </a:stretch>
        </p:blipFill>
        <p:spPr>
          <a:xfrm>
            <a:off x="5545138" y="0"/>
            <a:ext cx="5146675" cy="6011863"/>
          </a:xfrm>
        </p:spPr>
      </p:pic>
      <p:pic>
        <p:nvPicPr>
          <p:cNvPr id="5" name="Grafický objekt 4" descr="Otázky obrys">
            <a:extLst>
              <a:ext uri="{FF2B5EF4-FFF2-40B4-BE49-F238E27FC236}">
                <a16:creationId xmlns:a16="http://schemas.microsoft.com/office/drawing/2014/main" id="{D5371FA0-4A13-B924-D047-AD52143C1EB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625601" y="2279475"/>
            <a:ext cx="1644750" cy="1644750"/>
          </a:xfrm>
          <a:prstGeom prst="rect">
            <a:avLst/>
          </a:prstGeom>
        </p:spPr>
      </p:pic>
      <p:sp>
        <p:nvSpPr>
          <p:cNvPr id="7" name="Zástupný text 6">
            <a:extLst>
              <a:ext uri="{FF2B5EF4-FFF2-40B4-BE49-F238E27FC236}">
                <a16:creationId xmlns:a16="http://schemas.microsoft.com/office/drawing/2014/main" id="{493D3B2B-062E-FFAA-87FE-4E310D8F467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696289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ŠKODA A4 Widescreen CI">
  <a:themeElements>
    <a:clrScheme name="ŠKODA CI">
      <a:dk1>
        <a:sysClr val="windowText" lastClr="000000"/>
      </a:dk1>
      <a:lt1>
        <a:sysClr val="window" lastClr="FFFFFF"/>
      </a:lt1>
      <a:dk2>
        <a:srgbClr val="F15252"/>
      </a:dk2>
      <a:lt2>
        <a:srgbClr val="FAEB67"/>
      </a:lt2>
      <a:accent1>
        <a:srgbClr val="0E3A2F"/>
      </a:accent1>
      <a:accent2>
        <a:srgbClr val="78FAAE"/>
      </a:accent2>
      <a:accent3>
        <a:srgbClr val="6F797A"/>
      </a:accent3>
      <a:accent4>
        <a:srgbClr val="CACECF"/>
      </a:accent4>
      <a:accent5>
        <a:srgbClr val="1ED4DF"/>
      </a:accent5>
      <a:accent6>
        <a:srgbClr val="F7B046"/>
      </a:accent6>
      <a:hlink>
        <a:srgbClr val="000000"/>
      </a:hlink>
      <a:folHlink>
        <a:srgbClr val="000000"/>
      </a:folHlink>
    </a:clrScheme>
    <a:fontScheme name="SKODA Next">
      <a:majorFont>
        <a:latin typeface="SKODA Next"/>
        <a:ea typeface=""/>
        <a:cs typeface=""/>
      </a:majorFont>
      <a:minorFont>
        <a:latin typeface="SKODA Next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ŠKODA CI">
        <a:dk1>
          <a:sysClr val="windowText" lastClr="000000"/>
        </a:dk1>
        <a:lt1>
          <a:sysClr val="window" lastClr="FFFFFF"/>
        </a:lt1>
        <a:dk2>
          <a:srgbClr val="F15252"/>
        </a:dk2>
        <a:lt2>
          <a:srgbClr val="FAEB67"/>
        </a:lt2>
        <a:accent1>
          <a:srgbClr val="0E3A2F"/>
        </a:accent1>
        <a:accent2>
          <a:srgbClr val="78FAAE"/>
        </a:accent2>
        <a:accent3>
          <a:srgbClr val="6F797A"/>
        </a:accent3>
        <a:accent4>
          <a:srgbClr val="CACECF"/>
        </a:accent4>
        <a:accent5>
          <a:srgbClr val="1ED4DF"/>
        </a:accent5>
        <a:accent6>
          <a:srgbClr val="F7B046"/>
        </a:accent6>
        <a:hlink>
          <a:srgbClr val="000000"/>
        </a:hlink>
        <a:folHlink>
          <a:srgbClr val="000000"/>
        </a:folHlink>
      </a:clrScheme>
    </a:extraClrScheme>
  </a:extraClrSchemeLst>
  <a:custClrLst>
    <a:custClr name="Emerald Green">
      <a:srgbClr val="0E3A2F"/>
    </a:custClr>
    <a:custClr name="Electric Green">
      <a:srgbClr val="78FAAE"/>
    </a:custClr>
    <a:custClr name="Red">
      <a:srgbClr val="F15252"/>
    </a:custClr>
    <a:custClr name="Blue">
      <a:srgbClr val="0961A1"/>
    </a:custClr>
    <a:custClr name="Teal">
      <a:srgbClr val="1ED4DF"/>
    </a:custClr>
    <a:custClr name="Yellow">
      <a:srgbClr val="FAEB67"/>
    </a:custClr>
    <a:custClr name="Orange">
      <a:srgbClr val="F7B046"/>
    </a:custClr>
  </a:custClrLst>
  <a:extLst>
    <a:ext uri="{05A4C25C-085E-4340-85A3-A5531E510DB2}">
      <thm15:themeFamily xmlns:thm15="http://schemas.microsoft.com/office/thememl/2012/main" name="SKODA_Sablona_Sirokouhla_SKODA_Next.potx" id="{2BA37CAB-E3AC-44E1-9509-601D2AB63280}" vid="{647152EF-26B1-4E3E-A86A-23C32EE9BC71}"/>
    </a:ext>
  </a:extLst>
</a:theme>
</file>

<file path=ppt/theme/theme2.xml><?xml version="1.0" encoding="utf-8"?>
<a:theme xmlns:a="http://schemas.openxmlformats.org/drawingml/2006/main" name="ŠKODA A4 Widescreen GREYSCALE">
  <a:themeElements>
    <a:clrScheme name="ŠKODA CI">
      <a:dk1>
        <a:sysClr val="windowText" lastClr="000000"/>
      </a:dk1>
      <a:lt1>
        <a:sysClr val="window" lastClr="FFFFFF"/>
      </a:lt1>
      <a:dk2>
        <a:srgbClr val="E5E5E5"/>
      </a:dk2>
      <a:lt2>
        <a:srgbClr val="747474"/>
      </a:lt2>
      <a:accent1>
        <a:srgbClr val="303030"/>
      </a:accent1>
      <a:accent2>
        <a:srgbClr val="D9D9D9"/>
      </a:accent2>
      <a:accent3>
        <a:srgbClr val="777777"/>
      </a:accent3>
      <a:accent4>
        <a:srgbClr val="CDCDCD"/>
      </a:accent4>
      <a:accent5>
        <a:srgbClr val="AEAEAE"/>
      </a:accent5>
      <a:accent6>
        <a:srgbClr val="B7B7B7"/>
      </a:accent6>
      <a:hlink>
        <a:srgbClr val="000000"/>
      </a:hlink>
      <a:folHlink>
        <a:srgbClr val="000000"/>
      </a:folHlink>
    </a:clrScheme>
    <a:fontScheme name="SKODA Next">
      <a:majorFont>
        <a:latin typeface="SKODA Next"/>
        <a:ea typeface=""/>
        <a:cs typeface=""/>
      </a:majorFont>
      <a:minorFont>
        <a:latin typeface="SKODA Next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ŠKODA CI">
        <a:dk1>
          <a:sysClr val="windowText" lastClr="000000"/>
        </a:dk1>
        <a:lt1>
          <a:sysClr val="window" lastClr="FFFFFF"/>
        </a:lt1>
        <a:dk2>
          <a:srgbClr val="E5E5E5"/>
        </a:dk2>
        <a:lt2>
          <a:srgbClr val="747474"/>
        </a:lt2>
        <a:accent1>
          <a:srgbClr val="303030"/>
        </a:accent1>
        <a:accent2>
          <a:srgbClr val="D9D9D9"/>
        </a:accent2>
        <a:accent3>
          <a:srgbClr val="777777"/>
        </a:accent3>
        <a:accent4>
          <a:srgbClr val="CDCDCD"/>
        </a:accent4>
        <a:accent5>
          <a:srgbClr val="AEAEAE"/>
        </a:accent5>
        <a:accent6>
          <a:srgbClr val="B7B7B7"/>
        </a:accent6>
        <a:hlink>
          <a:srgbClr val="000000"/>
        </a:hlink>
        <a:folHlink>
          <a:srgbClr val="000000"/>
        </a:folHlink>
      </a:clrScheme>
    </a:extraClrScheme>
  </a:extraClrSchemeLst>
  <a:custClrLst>
    <a:custClr name="Emerald Green">
      <a:srgbClr val="303030"/>
    </a:custClr>
    <a:custClr name="Electric Green">
      <a:srgbClr val="D9D9D9"/>
    </a:custClr>
    <a:custClr name="Red">
      <a:srgbClr val="747474"/>
    </a:custClr>
    <a:custClr name="Blue">
      <a:srgbClr val="535353"/>
    </a:custClr>
    <a:custClr name="Teal">
      <a:srgbClr val="AEAEAE"/>
    </a:custClr>
    <a:custClr name="Yellow">
      <a:srgbClr val="E5E5E5"/>
    </a:custClr>
    <a:custClr name="Orange">
      <a:srgbClr val="B7B7B7"/>
    </a:custClr>
  </a:custClrLst>
  <a:extLst>
    <a:ext uri="{05A4C25C-085E-4340-85A3-A5531E510DB2}">
      <thm15:themeFamily xmlns:thm15="http://schemas.microsoft.com/office/thememl/2012/main" name="SKODA_Sablona_Sirokouhla_SKODA_Next.potx" id="{2BA37CAB-E3AC-44E1-9509-601D2AB63280}" vid="{9395D55D-1370-4845-881B-33E56075F57F}"/>
    </a:ext>
  </a:extLst>
</a:theme>
</file>

<file path=ppt/theme/theme3.xml><?xml version="1.0" encoding="utf-8"?>
<a:theme xmlns:a="http://schemas.openxmlformats.org/drawingml/2006/main" name="1_ŠKODA A4 Widescreen CI">
  <a:themeElements>
    <a:clrScheme name="ŠKODA CI">
      <a:dk1>
        <a:sysClr val="windowText" lastClr="000000"/>
      </a:dk1>
      <a:lt1>
        <a:sysClr val="window" lastClr="FFFFFF"/>
      </a:lt1>
      <a:dk2>
        <a:srgbClr val="F15252"/>
      </a:dk2>
      <a:lt2>
        <a:srgbClr val="FAEB67"/>
      </a:lt2>
      <a:accent1>
        <a:srgbClr val="0E3A2F"/>
      </a:accent1>
      <a:accent2>
        <a:srgbClr val="78FAAE"/>
      </a:accent2>
      <a:accent3>
        <a:srgbClr val="6F797A"/>
      </a:accent3>
      <a:accent4>
        <a:srgbClr val="CACECF"/>
      </a:accent4>
      <a:accent5>
        <a:srgbClr val="1ED4DF"/>
      </a:accent5>
      <a:accent6>
        <a:srgbClr val="F7B046"/>
      </a:accent6>
      <a:hlink>
        <a:srgbClr val="000000"/>
      </a:hlink>
      <a:folHlink>
        <a:srgbClr val="000000"/>
      </a:folHlink>
    </a:clrScheme>
    <a:fontScheme name="SKODA Next">
      <a:majorFont>
        <a:latin typeface="SKODA Next"/>
        <a:ea typeface=""/>
        <a:cs typeface=""/>
      </a:majorFont>
      <a:minorFont>
        <a:latin typeface="SKODA Next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ŠKODA CI">
        <a:dk1>
          <a:sysClr val="windowText" lastClr="000000"/>
        </a:dk1>
        <a:lt1>
          <a:sysClr val="window" lastClr="FFFFFF"/>
        </a:lt1>
        <a:dk2>
          <a:srgbClr val="F15252"/>
        </a:dk2>
        <a:lt2>
          <a:srgbClr val="FAEB67"/>
        </a:lt2>
        <a:accent1>
          <a:srgbClr val="0E3A2F"/>
        </a:accent1>
        <a:accent2>
          <a:srgbClr val="78FAAE"/>
        </a:accent2>
        <a:accent3>
          <a:srgbClr val="6F797A"/>
        </a:accent3>
        <a:accent4>
          <a:srgbClr val="CACECF"/>
        </a:accent4>
        <a:accent5>
          <a:srgbClr val="1ED4DF"/>
        </a:accent5>
        <a:accent6>
          <a:srgbClr val="F7B046"/>
        </a:accent6>
        <a:hlink>
          <a:srgbClr val="000000"/>
        </a:hlink>
        <a:folHlink>
          <a:srgbClr val="000000"/>
        </a:folHlink>
      </a:clrScheme>
    </a:extraClrScheme>
  </a:extraClrSchemeLst>
  <a:custClrLst>
    <a:custClr name="Emerald Green">
      <a:srgbClr val="0E3A2F"/>
    </a:custClr>
    <a:custClr name="Electric Green">
      <a:srgbClr val="78FAAE"/>
    </a:custClr>
    <a:custClr name="Red">
      <a:srgbClr val="F15252"/>
    </a:custClr>
    <a:custClr name="Blue">
      <a:srgbClr val="0961A1"/>
    </a:custClr>
    <a:custClr name="Teal">
      <a:srgbClr val="1ED4DF"/>
    </a:custClr>
    <a:custClr name="Yellow">
      <a:srgbClr val="FAEB67"/>
    </a:custClr>
    <a:custClr name="Orange">
      <a:srgbClr val="F7B046"/>
    </a:custClr>
  </a:custClrLst>
  <a:extLst>
    <a:ext uri="{05A4C25C-085E-4340-85A3-A5531E510DB2}">
      <thm15:themeFamily xmlns:thm15="http://schemas.microsoft.com/office/thememl/2012/main" name="SKODA 2022 Preliminary Sample Presentation.potx" id="{7D463A37-A946-44FE-86A6-C17BC9CDFC3F}" vid="{C6E7AC65-A130-46B2-9CF5-6A75045A0E3F}"/>
    </a:ext>
  </a:extLst>
</a:theme>
</file>

<file path=ppt/theme/theme4.xml><?xml version="1.0" encoding="utf-8"?>
<a:theme xmlns:a="http://schemas.openxmlformats.org/drawingml/2006/main" name="Motiv sady Office">
  <a:themeElements>
    <a:clrScheme name="ŠKODA CI">
      <a:dk1>
        <a:sysClr val="windowText" lastClr="000000"/>
      </a:dk1>
      <a:lt1>
        <a:sysClr val="window" lastClr="FFFFFF"/>
      </a:lt1>
      <a:dk2>
        <a:srgbClr val="F15252"/>
      </a:dk2>
      <a:lt2>
        <a:srgbClr val="FAEB67"/>
      </a:lt2>
      <a:accent1>
        <a:srgbClr val="0E3A2F"/>
      </a:accent1>
      <a:accent2>
        <a:srgbClr val="78FAAE"/>
      </a:accent2>
      <a:accent3>
        <a:srgbClr val="6F797A"/>
      </a:accent3>
      <a:accent4>
        <a:srgbClr val="CACECF"/>
      </a:accent4>
      <a:accent5>
        <a:srgbClr val="1ED4DF"/>
      </a:accent5>
      <a:accent6>
        <a:srgbClr val="F7B046"/>
      </a:accent6>
      <a:hlink>
        <a:srgbClr val="000000"/>
      </a:hlink>
      <a:folHlink>
        <a:srgbClr val="000000"/>
      </a:folHlink>
    </a:clrScheme>
    <a:fontScheme name="SKODA Next">
      <a:majorFont>
        <a:latin typeface="SKODA Next"/>
        <a:ea typeface=""/>
        <a:cs typeface=""/>
      </a:majorFont>
      <a:minorFont>
        <a:latin typeface="SKODA Next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ŠKODA CI">
        <a:dk1>
          <a:sysClr val="windowText" lastClr="000000"/>
        </a:dk1>
        <a:lt1>
          <a:sysClr val="window" lastClr="FFFFFF"/>
        </a:lt1>
        <a:dk2>
          <a:srgbClr val="F15252"/>
        </a:dk2>
        <a:lt2>
          <a:srgbClr val="FAEB67"/>
        </a:lt2>
        <a:accent1>
          <a:srgbClr val="0E3A2F"/>
        </a:accent1>
        <a:accent2>
          <a:srgbClr val="78FAAE"/>
        </a:accent2>
        <a:accent3>
          <a:srgbClr val="6F797A"/>
        </a:accent3>
        <a:accent4>
          <a:srgbClr val="CACECF"/>
        </a:accent4>
        <a:accent5>
          <a:srgbClr val="1ED4DF"/>
        </a:accent5>
        <a:accent6>
          <a:srgbClr val="F7B046"/>
        </a:accent6>
        <a:hlink>
          <a:srgbClr val="000000"/>
        </a:hlink>
        <a:folHlink>
          <a:srgbClr val="000000"/>
        </a:folHlink>
      </a:clrScheme>
    </a:extraClrScheme>
  </a:extraClrSchemeLst>
  <a:custClrLst>
    <a:custClr name="Emerald Green">
      <a:srgbClr val="0E3A2F"/>
    </a:custClr>
    <a:custClr name="Electric Green">
      <a:srgbClr val="78FAAE"/>
    </a:custClr>
    <a:custClr name="Red">
      <a:srgbClr val="F15252"/>
    </a:custClr>
    <a:custClr name="Blue">
      <a:srgbClr val="0961A1"/>
    </a:custClr>
    <a:custClr name="Teal">
      <a:srgbClr val="1ED4DF"/>
    </a:custClr>
    <a:custClr name="Yellow">
      <a:srgbClr val="FAEB67"/>
    </a:custClr>
    <a:custClr name="Orange">
      <a:srgbClr val="F7B046"/>
    </a:custClr>
  </a:custClrLst>
</a:theme>
</file>

<file path=ppt/theme/theme5.xml><?xml version="1.0" encoding="utf-8"?>
<a:theme xmlns:a="http://schemas.openxmlformats.org/drawingml/2006/main" name="Motiv sady Office">
  <a:themeElements>
    <a:clrScheme name="ŠKODA CI">
      <a:dk1>
        <a:sysClr val="windowText" lastClr="000000"/>
      </a:dk1>
      <a:lt1>
        <a:sysClr val="window" lastClr="FFFFFF"/>
      </a:lt1>
      <a:dk2>
        <a:srgbClr val="F15252"/>
      </a:dk2>
      <a:lt2>
        <a:srgbClr val="FAEB67"/>
      </a:lt2>
      <a:accent1>
        <a:srgbClr val="0E3A2F"/>
      </a:accent1>
      <a:accent2>
        <a:srgbClr val="78FAAE"/>
      </a:accent2>
      <a:accent3>
        <a:srgbClr val="6F797A"/>
      </a:accent3>
      <a:accent4>
        <a:srgbClr val="CACECF"/>
      </a:accent4>
      <a:accent5>
        <a:srgbClr val="1ED4DF"/>
      </a:accent5>
      <a:accent6>
        <a:srgbClr val="F7B046"/>
      </a:accent6>
      <a:hlink>
        <a:srgbClr val="000000"/>
      </a:hlink>
      <a:folHlink>
        <a:srgbClr val="000000"/>
      </a:folHlink>
    </a:clrScheme>
    <a:fontScheme name="SKODA Next">
      <a:majorFont>
        <a:latin typeface="SKODA Next"/>
        <a:ea typeface=""/>
        <a:cs typeface=""/>
      </a:majorFont>
      <a:minorFont>
        <a:latin typeface="SKODA Next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ŠKODA CI">
        <a:dk1>
          <a:sysClr val="windowText" lastClr="000000"/>
        </a:dk1>
        <a:lt1>
          <a:sysClr val="window" lastClr="FFFFFF"/>
        </a:lt1>
        <a:dk2>
          <a:srgbClr val="F15252"/>
        </a:dk2>
        <a:lt2>
          <a:srgbClr val="FAEB67"/>
        </a:lt2>
        <a:accent1>
          <a:srgbClr val="0E3A2F"/>
        </a:accent1>
        <a:accent2>
          <a:srgbClr val="78FAAE"/>
        </a:accent2>
        <a:accent3>
          <a:srgbClr val="6F797A"/>
        </a:accent3>
        <a:accent4>
          <a:srgbClr val="CACECF"/>
        </a:accent4>
        <a:accent5>
          <a:srgbClr val="1ED4DF"/>
        </a:accent5>
        <a:accent6>
          <a:srgbClr val="F7B046"/>
        </a:accent6>
        <a:hlink>
          <a:srgbClr val="000000"/>
        </a:hlink>
        <a:folHlink>
          <a:srgbClr val="000000"/>
        </a:folHlink>
      </a:clrScheme>
    </a:extraClrScheme>
  </a:extraClrSchemeLst>
  <a:custClrLst>
    <a:custClr name="Emerald Green">
      <a:srgbClr val="0E3A2F"/>
    </a:custClr>
    <a:custClr name="Electric Green">
      <a:srgbClr val="78FAAE"/>
    </a:custClr>
    <a:custClr name="Red">
      <a:srgbClr val="F15252"/>
    </a:custClr>
    <a:custClr name="Blue">
      <a:srgbClr val="0961A1"/>
    </a:custClr>
    <a:custClr name="Teal">
      <a:srgbClr val="1ED4DF"/>
    </a:custClr>
    <a:custClr name="Yellow">
      <a:srgbClr val="FAEB67"/>
    </a:custClr>
    <a:custClr name="Orange">
      <a:srgbClr val="F7B046"/>
    </a:custClr>
  </a:custClrLst>
</a:theme>
</file>

<file path=docProps/app.xml><?xml version="1.0" encoding="utf-8"?>
<Properties xmlns="http://schemas.openxmlformats.org/officeDocument/2006/extended-properties" xmlns:vt="http://schemas.openxmlformats.org/officeDocument/2006/docPropsVTypes">
  <Template>SKODA_Sablona_Sirokouhla_SKODA_Next</Template>
  <TotalTime>406</TotalTime>
  <Words>365</Words>
  <Application>Microsoft Office PowerPoint</Application>
  <PresentationFormat>Vlastní</PresentationFormat>
  <Paragraphs>73</Paragraphs>
  <Slides>9</Slides>
  <Notes>1</Notes>
  <HiddenSlides>0</HiddenSlides>
  <MMClips>0</MMClips>
  <ScaleCrop>false</ScaleCrop>
  <HeadingPairs>
    <vt:vector size="8" baseType="variant">
      <vt:variant>
        <vt:lpstr>Použitá písma</vt:lpstr>
      </vt:variant>
      <vt:variant>
        <vt:i4>5</vt:i4>
      </vt:variant>
      <vt:variant>
        <vt:lpstr>Motiv</vt:lpstr>
      </vt:variant>
      <vt:variant>
        <vt:i4>3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9</vt:i4>
      </vt:variant>
    </vt:vector>
  </HeadingPairs>
  <TitlesOfParts>
    <vt:vector size="18" baseType="lpstr">
      <vt:lpstr>Arial</vt:lpstr>
      <vt:lpstr>Calibri</vt:lpstr>
      <vt:lpstr>SKODA Next</vt:lpstr>
      <vt:lpstr>SKODA Next Light</vt:lpstr>
      <vt:lpstr>Wingdings</vt:lpstr>
      <vt:lpstr>ŠKODA A4 Widescreen CI</vt:lpstr>
      <vt:lpstr>ŠKODA A4 Widescreen GREYSCALE</vt:lpstr>
      <vt:lpstr>1_ŠKODA A4 Widescreen CI</vt:lpstr>
      <vt:lpstr>think-cell Slide</vt:lpstr>
      <vt:lpstr>N_OPX - Odborná praxe ve Škoda auto a.s.</vt:lpstr>
      <vt:lpstr>Obsah</vt:lpstr>
      <vt:lpstr>Škoda auto a.s. v Mladé Boleslavi</vt:lpstr>
      <vt:lpstr>Aktuální modelová paleta</vt:lpstr>
      <vt:lpstr>Odborná praxe ve ŠKODA AUTO a.s.</vt:lpstr>
      <vt:lpstr>Závady ze sítě</vt:lpstr>
      <vt:lpstr>Dovednosti a znalosti získané odbornou praxí</vt:lpstr>
      <vt:lpstr>Děkuji za pozornost</vt:lpstr>
      <vt:lpstr>Otázky &amp; odpovědi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ázev  prezentace</dc:title>
  <dc:creator>Hlavacek, Ondrej (GQD-1)</dc:creator>
  <cp:lastModifiedBy>Ondřej Hlaváček</cp:lastModifiedBy>
  <cp:revision>41</cp:revision>
  <dcterms:created xsi:type="dcterms:W3CDTF">2023-11-08T08:38:19Z</dcterms:created>
  <dcterms:modified xsi:type="dcterms:W3CDTF">2023-12-29T08:02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b1c9b508-7c6e-42bd-bedf-808292653d6c_Enabled">
    <vt:lpwstr>true</vt:lpwstr>
  </property>
  <property fmtid="{D5CDD505-2E9C-101B-9397-08002B2CF9AE}" pid="3" name="MSIP_Label_b1c9b508-7c6e-42bd-bedf-808292653d6c_SetDate">
    <vt:lpwstr>2023-12-06T07:56:50Z</vt:lpwstr>
  </property>
  <property fmtid="{D5CDD505-2E9C-101B-9397-08002B2CF9AE}" pid="4" name="MSIP_Label_b1c9b508-7c6e-42bd-bedf-808292653d6c_Method">
    <vt:lpwstr>Standard</vt:lpwstr>
  </property>
  <property fmtid="{D5CDD505-2E9C-101B-9397-08002B2CF9AE}" pid="5" name="MSIP_Label_b1c9b508-7c6e-42bd-bedf-808292653d6c_Name">
    <vt:lpwstr>b1c9b508-7c6e-42bd-bedf-808292653d6c</vt:lpwstr>
  </property>
  <property fmtid="{D5CDD505-2E9C-101B-9397-08002B2CF9AE}" pid="6" name="MSIP_Label_b1c9b508-7c6e-42bd-bedf-808292653d6c_SiteId">
    <vt:lpwstr>2882be50-2012-4d88-ac86-544124e120c8</vt:lpwstr>
  </property>
  <property fmtid="{D5CDD505-2E9C-101B-9397-08002B2CF9AE}" pid="7" name="MSIP_Label_b1c9b508-7c6e-42bd-bedf-808292653d6c_ActionId">
    <vt:lpwstr>a42a92e6-5770-45da-a74c-e066f4a778c7</vt:lpwstr>
  </property>
  <property fmtid="{D5CDD505-2E9C-101B-9397-08002B2CF9AE}" pid="8" name="MSIP_Label_b1c9b508-7c6e-42bd-bedf-808292653d6c_ContentBits">
    <vt:lpwstr>3</vt:lpwstr>
  </property>
</Properties>
</file>